
<file path=[Content_Types].xml><?xml version="1.0" encoding="utf-8"?>
<Types xmlns="http://schemas.openxmlformats.org/package/2006/content-types">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5" r:id="rId1"/>
  </p:sldMasterIdLst>
  <p:notesMasterIdLst>
    <p:notesMasterId r:id="rId15"/>
  </p:notesMasterIdLst>
  <p:handoutMasterIdLst>
    <p:handoutMasterId r:id="rId16"/>
  </p:handoutMasterIdLst>
  <p:sldIdLst>
    <p:sldId id="302" r:id="rId2"/>
    <p:sldId id="303" r:id="rId3"/>
    <p:sldId id="309" r:id="rId4"/>
    <p:sldId id="310" r:id="rId5"/>
    <p:sldId id="308" r:id="rId6"/>
    <p:sldId id="311" r:id="rId7"/>
    <p:sldId id="312" r:id="rId8"/>
    <p:sldId id="313" r:id="rId9"/>
    <p:sldId id="314" r:id="rId10"/>
    <p:sldId id="315" r:id="rId11"/>
    <p:sldId id="316" r:id="rId12"/>
    <p:sldId id="317" r:id="rId13"/>
    <p:sldId id="318"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orient="horz" pos="1412" userDrawn="1">
          <p15:clr>
            <a:srgbClr val="A4A3A4"/>
          </p15:clr>
        </p15:guide>
        <p15:guide id="3" orient="horz" pos="2976" userDrawn="1">
          <p15:clr>
            <a:srgbClr val="A4A3A4"/>
          </p15:clr>
        </p15:guide>
        <p15:guide id="4" orient="horz" pos="3555" userDrawn="1">
          <p15:clr>
            <a:srgbClr val="A4A3A4"/>
          </p15:clr>
        </p15:guide>
        <p15:guide id="5" orient="horz" pos="3226" userDrawn="1">
          <p15:clr>
            <a:srgbClr val="A4A3A4"/>
          </p15:clr>
        </p15:guide>
        <p15:guide id="6"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2" autoAdjust="0"/>
    <p:restoredTop sz="95202" autoAdjust="0"/>
  </p:normalViewPr>
  <p:slideViewPr>
    <p:cSldViewPr snapToGrid="0">
      <p:cViewPr varScale="1">
        <p:scale>
          <a:sx n="77" d="100"/>
          <a:sy n="77" d="100"/>
        </p:scale>
        <p:origin x="-798" y="-90"/>
      </p:cViewPr>
      <p:guideLst>
        <p:guide orient="horz" pos="1412"/>
        <p:guide orient="horz" pos="2976"/>
        <p:guide orient="horz" pos="3555"/>
        <p:guide orient="horz" pos="3226"/>
        <p:guide pos="3840"/>
      </p:guideLst>
    </p:cSldViewPr>
  </p:slideViewPr>
  <p:notesTextViewPr>
    <p:cViewPr>
      <p:scale>
        <a:sx n="3" d="2"/>
        <a:sy n="3" d="2"/>
      </p:scale>
      <p:origin x="0" y="0"/>
    </p:cViewPr>
  </p:notesTextViewPr>
  <p:sorterViewPr>
    <p:cViewPr varScale="1">
      <p:scale>
        <a:sx n="100" d="100"/>
        <a:sy n="100" d="100"/>
      </p:scale>
      <p:origin x="0" y="-4622"/>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Internal Data </a:t>
          </a:r>
          <a:r>
            <a:rPr lang="en-GB" sz="2800" dirty="0"/>
            <a:t>Audit</a:t>
          </a:r>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dgm:spPr>
        <a:solidFill>
          <a:schemeClr val="bg1">
            <a:alpha val="90000"/>
          </a:schemeClr>
        </a:solidFill>
        <a:ln>
          <a:noFill/>
        </a:ln>
      </dgm:spPr>
      <dgm:t>
        <a:bodyPr/>
        <a:lstStyle/>
        <a:p>
          <a:r>
            <a:rPr lang="en-GB" dirty="0"/>
            <a:t>Required to produce “R Best Practice” document</a:t>
          </a:r>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B8844D65-5BD8-4BA7-A91C-758925605364}">
      <dgm:prSet phldrT="[Text]"/>
      <dgm:spPr>
        <a:solidFill>
          <a:schemeClr val="bg1">
            <a:alpha val="90000"/>
          </a:schemeClr>
        </a:solidFill>
        <a:ln>
          <a:noFill/>
        </a:ln>
      </dgm:spPr>
      <dgm:t>
        <a:bodyPr/>
        <a:lstStyle/>
        <a:p>
          <a:r>
            <a:rPr lang="en-GB" dirty="0"/>
            <a:t>Will be assessed against it in the future</a:t>
          </a:r>
        </a:p>
      </dgm:t>
    </dgm:pt>
    <dgm:pt modelId="{8A65C167-F4BA-4748-B2CC-2658CA6AD630}" type="parTrans" cxnId="{89835A78-5FFD-4FCD-B4A2-314AD93B4A77}">
      <dgm:prSet/>
      <dgm:spPr/>
      <dgm:t>
        <a:bodyPr/>
        <a:lstStyle/>
        <a:p>
          <a:endParaRPr lang="en-GB"/>
        </a:p>
      </dgm:t>
    </dgm:pt>
    <dgm:pt modelId="{010BB93E-8DF4-4D27-8388-466446471116}" type="sibTrans" cxnId="{89835A78-5FFD-4FCD-B4A2-314AD93B4A77}">
      <dgm:prSet/>
      <dgm:spPr/>
      <dgm:t>
        <a:bodyPr/>
        <a:lstStyle/>
        <a:p>
          <a:endParaRPr lang="en-GB"/>
        </a:p>
      </dgm:t>
    </dgm:pt>
    <dgm:pt modelId="{A54DDDDA-3C9C-48DC-A011-7E209E457466}">
      <dgm:prSet phldrT="[Text]" custT="1"/>
      <dgm:spPr>
        <a:solidFill>
          <a:schemeClr val="accent1"/>
        </a:solidFill>
      </dgm:spPr>
      <dgm:t>
        <a:bodyPr/>
        <a:lstStyle/>
        <a:p>
          <a:pPr algn="l"/>
          <a:r>
            <a:rPr lang="en-GB" sz="2800" dirty="0" smtClean="0"/>
            <a:t>End-User </a:t>
          </a:r>
          <a:r>
            <a:rPr lang="en-GB" sz="2800" dirty="0" smtClean="0"/>
            <a:t>Computing Standards</a:t>
          </a:r>
          <a:endParaRPr lang="en-GB" sz="2800" dirty="0"/>
        </a:p>
      </dgm:t>
    </dgm:pt>
    <dgm:pt modelId="{1ED98A9F-5F0D-496D-A850-903776F44C8F}" type="parTrans" cxnId="{79A795B0-CB56-44CD-9241-1C33AE0EC82A}">
      <dgm:prSet/>
      <dgm:spPr/>
      <dgm:t>
        <a:bodyPr/>
        <a:lstStyle/>
        <a:p>
          <a:endParaRPr lang="en-GB"/>
        </a:p>
      </dgm:t>
    </dgm:pt>
    <dgm:pt modelId="{D05C25E6-9EFE-4102-9080-E79BD7BB8625}" type="sibTrans" cxnId="{79A795B0-CB56-44CD-9241-1C33AE0EC82A}">
      <dgm:prSet/>
      <dgm:spPr/>
      <dgm:t>
        <a:bodyPr/>
        <a:lstStyle/>
        <a:p>
          <a:endParaRPr lang="en-GB"/>
        </a:p>
      </dgm:t>
    </dgm:pt>
    <dgm:pt modelId="{A9B7BAB3-EFFF-4420-ACB5-2F6AB46F5EBE}">
      <dgm:prSet phldrT="[Text]"/>
      <dgm:spPr>
        <a:solidFill>
          <a:schemeClr val="bg1">
            <a:alpha val="90000"/>
          </a:schemeClr>
        </a:solidFill>
        <a:ln>
          <a:noFill/>
        </a:ln>
      </dgm:spPr>
      <dgm:t>
        <a:bodyPr/>
        <a:lstStyle/>
        <a:p>
          <a:r>
            <a:rPr lang="en-GB" dirty="0"/>
            <a:t>Current </a:t>
          </a:r>
          <a:r>
            <a:rPr lang="en-GB" dirty="0" smtClean="0"/>
            <a:t>standards need </a:t>
          </a:r>
          <a:r>
            <a:rPr lang="en-GB" dirty="0"/>
            <a:t>revising (DSG)</a:t>
          </a:r>
        </a:p>
      </dgm:t>
    </dgm:pt>
    <dgm:pt modelId="{091A892F-7103-46C5-AECE-6C5222CC6027}" type="parTrans" cxnId="{7AAC5B19-C650-438C-9AE5-C976E78E8735}">
      <dgm:prSet/>
      <dgm:spPr/>
      <dgm:t>
        <a:bodyPr/>
        <a:lstStyle/>
        <a:p>
          <a:endParaRPr lang="en-GB"/>
        </a:p>
      </dgm:t>
    </dgm:pt>
    <dgm:pt modelId="{C691F441-16E7-4764-BF7D-E13528760940}" type="sibTrans" cxnId="{7AAC5B19-C650-438C-9AE5-C976E78E8735}">
      <dgm:prSet/>
      <dgm:spPr/>
      <dgm:t>
        <a:bodyPr/>
        <a:lstStyle/>
        <a:p>
          <a:endParaRPr lang="en-GB"/>
        </a:p>
      </dgm:t>
    </dgm:pt>
    <dgm:pt modelId="{07260B8B-CB90-4AA2-B100-137F687FDA00}">
      <dgm:prSet phldrT="[Text]"/>
      <dgm:spPr>
        <a:solidFill>
          <a:schemeClr val="bg1">
            <a:alpha val="90000"/>
          </a:schemeClr>
        </a:solidFill>
        <a:ln>
          <a:noFill/>
        </a:ln>
      </dgm:spPr>
      <dgm:t>
        <a:bodyPr/>
        <a:lstStyle/>
        <a:p>
          <a:r>
            <a:rPr lang="en-GB" dirty="0"/>
            <a:t>Produce </a:t>
          </a:r>
          <a:r>
            <a:rPr lang="en-GB" dirty="0" smtClean="0"/>
            <a:t>practical and pragmatic </a:t>
          </a:r>
          <a:r>
            <a:rPr lang="en-GB" dirty="0"/>
            <a:t>standards</a:t>
          </a:r>
        </a:p>
      </dgm:t>
    </dgm:pt>
    <dgm:pt modelId="{29D90068-85CC-4A74-A0ED-7F27D0E1D0F0}" type="parTrans" cxnId="{815D95EA-629B-4594-A8E9-2569E6DF4EED}">
      <dgm:prSet/>
      <dgm:spPr/>
      <dgm:t>
        <a:bodyPr/>
        <a:lstStyle/>
        <a:p>
          <a:endParaRPr lang="en-GB"/>
        </a:p>
      </dgm:t>
    </dgm:pt>
    <dgm:pt modelId="{AC44C685-434A-4B2A-BFE8-E35C96A9F250}" type="sibTrans" cxnId="{815D95EA-629B-4594-A8E9-2569E6DF4EED}">
      <dgm:prSet/>
      <dgm:spPr/>
      <dgm:t>
        <a:bodyPr/>
        <a:lstStyle/>
        <a:p>
          <a:endParaRPr lang="en-GB"/>
        </a:p>
      </dgm:t>
    </dgm:pt>
    <dgm:pt modelId="{2DD46E62-36FA-415D-AB3F-DC923CCB6BBB}">
      <dgm:prSet phldrT="[Text]" custT="1"/>
      <dgm:spPr>
        <a:solidFill>
          <a:schemeClr val="accent1"/>
        </a:solidFill>
      </dgm:spPr>
      <dgm:t>
        <a:bodyPr/>
        <a:lstStyle/>
        <a:p>
          <a:pPr algn="l"/>
          <a:r>
            <a:rPr lang="en-GB" sz="2800" dirty="0"/>
            <a:t>Team Efficiency</a:t>
          </a:r>
        </a:p>
      </dgm:t>
    </dgm:pt>
    <dgm:pt modelId="{7B94C471-2CE8-4CCE-85CB-6532ADEBD913}" type="parTrans" cxnId="{DB8FED9E-0F61-4FFC-AAE3-4E9A03157F89}">
      <dgm:prSet/>
      <dgm:spPr/>
      <dgm:t>
        <a:bodyPr/>
        <a:lstStyle/>
        <a:p>
          <a:endParaRPr lang="en-GB"/>
        </a:p>
      </dgm:t>
    </dgm:pt>
    <dgm:pt modelId="{0F2F6F4D-5A67-4CF4-8ABD-46D678809D2C}" type="sibTrans" cxnId="{DB8FED9E-0F61-4FFC-AAE3-4E9A03157F89}">
      <dgm:prSet/>
      <dgm:spPr/>
      <dgm:t>
        <a:bodyPr/>
        <a:lstStyle/>
        <a:p>
          <a:endParaRPr lang="en-GB"/>
        </a:p>
      </dgm:t>
    </dgm:pt>
    <dgm:pt modelId="{C59B5488-2D93-4C22-8058-E349A1CCBAA3}">
      <dgm:prSet phldrT="[Text]"/>
      <dgm:spPr>
        <a:solidFill>
          <a:schemeClr val="bg1">
            <a:alpha val="90000"/>
          </a:schemeClr>
        </a:solidFill>
        <a:ln>
          <a:noFill/>
        </a:ln>
      </dgm:spPr>
      <dgm:t>
        <a:bodyPr/>
        <a:lstStyle/>
        <a:p>
          <a:r>
            <a:rPr lang="en-GB" dirty="0"/>
            <a:t>Reduce time to understand / change code</a:t>
          </a:r>
        </a:p>
      </dgm:t>
    </dgm:pt>
    <dgm:pt modelId="{C5E57140-27C0-4D24-B0B4-DCF4EB4DC5C9}" type="parTrans" cxnId="{CB185C86-E066-43C5-B6B4-E17592D5E352}">
      <dgm:prSet/>
      <dgm:spPr/>
      <dgm:t>
        <a:bodyPr/>
        <a:lstStyle/>
        <a:p>
          <a:endParaRPr lang="en-GB"/>
        </a:p>
      </dgm:t>
    </dgm:pt>
    <dgm:pt modelId="{11E16311-BA95-4D5F-B050-57A2833E534D}" type="sibTrans" cxnId="{CB185C86-E066-43C5-B6B4-E17592D5E352}">
      <dgm:prSet/>
      <dgm:spPr/>
      <dgm:t>
        <a:bodyPr/>
        <a:lstStyle/>
        <a:p>
          <a:endParaRPr lang="en-GB"/>
        </a:p>
      </dgm:t>
    </dgm:pt>
    <dgm:pt modelId="{03B852C4-C2E7-469F-8F18-0D9800C10733}">
      <dgm:prSet phldrT="[Text]"/>
      <dgm:spPr>
        <a:solidFill>
          <a:schemeClr val="bg1">
            <a:alpha val="90000"/>
          </a:schemeClr>
        </a:solidFill>
        <a:ln>
          <a:noFill/>
        </a:ln>
      </dgm:spPr>
      <dgm:t>
        <a:bodyPr/>
        <a:lstStyle/>
        <a:p>
          <a:r>
            <a:rPr lang="en-GB" dirty="0"/>
            <a:t>Reduce dependence on individuals</a:t>
          </a:r>
        </a:p>
      </dgm:t>
    </dgm:pt>
    <dgm:pt modelId="{81503B8A-AF6C-47D6-B5ED-1F5B6F70AA23}" type="parTrans" cxnId="{C4644E44-8A5C-4272-A97C-B95DB0640626}">
      <dgm:prSet/>
      <dgm:spPr/>
      <dgm:t>
        <a:bodyPr/>
        <a:lstStyle/>
        <a:p>
          <a:endParaRPr lang="en-GB"/>
        </a:p>
      </dgm:t>
    </dgm:pt>
    <dgm:pt modelId="{CB4CF7BF-7F49-44DF-A499-D2787B022D62}" type="sibTrans" cxnId="{C4644E44-8A5C-4272-A97C-B95DB0640626}">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pt>
    <dgm:pt modelId="{83748B15-655A-499E-AE97-5681E3B432E2}" type="pres">
      <dgm:prSet presAssocID="{D7DA8A9C-B74A-4C3A-AD78-6C36C357F04B}" presName="parentText" presStyleLbl="node1" presStyleIdx="0" presStyleCnt="3">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pt>
    <dgm:pt modelId="{2EE2A421-A4DC-45B5-9961-40526C85ECC0}" type="pres">
      <dgm:prSet presAssocID="{A54DDDDA-3C9C-48DC-A011-7E209E457466}" presName="linNode" presStyleCnt="0"/>
      <dgm:spPr/>
    </dgm:pt>
    <dgm:pt modelId="{9CE3A155-4E42-49E9-BF57-D3B064BA681F}" type="pres">
      <dgm:prSet presAssocID="{A54DDDDA-3C9C-48DC-A011-7E209E457466}" presName="parentText" presStyleLbl="node1" presStyleIdx="1" presStyleCnt="3">
        <dgm:presLayoutVars>
          <dgm:chMax val="1"/>
          <dgm:bulletEnabled val="1"/>
        </dgm:presLayoutVars>
      </dgm:prSet>
      <dgm:spPr>
        <a:prstGeom prst="rect">
          <a:avLst/>
        </a:prstGeom>
      </dgm:spPr>
      <dgm:t>
        <a:bodyPr/>
        <a:lstStyle/>
        <a:p>
          <a:endParaRPr lang="en-GB"/>
        </a:p>
      </dgm:t>
    </dgm:pt>
    <dgm:pt modelId="{514860EF-17B3-4B1D-A546-DDD9AF61526D}" type="pres">
      <dgm:prSet presAssocID="{A54DDDDA-3C9C-48DC-A011-7E209E457466}" presName="descendantText" presStyleLbl="alignAccFollowNode1" presStyleIdx="1" presStyleCnt="3">
        <dgm:presLayoutVars>
          <dgm:bulletEnabled val="1"/>
        </dgm:presLayoutVars>
      </dgm:prSet>
      <dgm:spPr/>
      <dgm:t>
        <a:bodyPr/>
        <a:lstStyle/>
        <a:p>
          <a:endParaRPr lang="en-GB"/>
        </a:p>
      </dgm:t>
    </dgm:pt>
    <dgm:pt modelId="{FD2F651D-16AD-494F-BD3B-2C1D0B499E3B}" type="pres">
      <dgm:prSet presAssocID="{D05C25E6-9EFE-4102-9080-E79BD7BB8625}" presName="sp" presStyleCnt="0"/>
      <dgm:spPr/>
    </dgm:pt>
    <dgm:pt modelId="{63B50C59-7165-40E7-93B4-16D0693AE947}" type="pres">
      <dgm:prSet presAssocID="{2DD46E62-36FA-415D-AB3F-DC923CCB6BBB}" presName="linNode" presStyleCnt="0"/>
      <dgm:spPr/>
    </dgm:pt>
    <dgm:pt modelId="{7BA21780-1FAC-4367-B907-FEF18D038307}" type="pres">
      <dgm:prSet presAssocID="{2DD46E62-36FA-415D-AB3F-DC923CCB6BBB}" presName="parentText" presStyleLbl="node1" presStyleIdx="2" presStyleCnt="3">
        <dgm:presLayoutVars>
          <dgm:chMax val="1"/>
          <dgm:bulletEnabled val="1"/>
        </dgm:presLayoutVars>
      </dgm:prSet>
      <dgm:spPr>
        <a:prstGeom prst="rect">
          <a:avLst/>
        </a:prstGeom>
      </dgm:spPr>
      <dgm:t>
        <a:bodyPr/>
        <a:lstStyle/>
        <a:p>
          <a:endParaRPr lang="en-GB"/>
        </a:p>
      </dgm:t>
    </dgm:pt>
    <dgm:pt modelId="{C373A146-BA82-4B1B-A21A-D833FD5DE1D4}" type="pres">
      <dgm:prSet presAssocID="{2DD46E62-36FA-415D-AB3F-DC923CCB6BBB}" presName="descendantText" presStyleLbl="alignAccFollowNode1" presStyleIdx="2" presStyleCnt="3">
        <dgm:presLayoutVars>
          <dgm:bulletEnabled val="1"/>
        </dgm:presLayoutVars>
      </dgm:prSet>
      <dgm:spPr/>
      <dgm:t>
        <a:bodyPr/>
        <a:lstStyle/>
        <a:p>
          <a:endParaRPr lang="en-GB"/>
        </a:p>
      </dgm:t>
    </dgm:pt>
  </dgm:ptLst>
  <dgm:cxnLst>
    <dgm:cxn modelId="{618B7593-C8F6-4167-B80B-8E59E767BFA5}" srcId="{ACA58C29-1FB7-46BD-8FCD-C059814EA806}" destId="{D7DA8A9C-B74A-4C3A-AD78-6C36C357F04B}" srcOrd="0" destOrd="0" parTransId="{7E72F7B3-C3B2-47EE-B0D3-775ED62011A8}" sibTransId="{D26CB386-EADB-46DD-A810-3B5E065B544B}"/>
    <dgm:cxn modelId="{B13A2447-0E8B-4E96-98C3-AA74C061F6FD}" type="presOf" srcId="{03B852C4-C2E7-469F-8F18-0D9800C10733}" destId="{C373A146-BA82-4B1B-A21A-D833FD5DE1D4}" srcOrd="0" destOrd="1" presId="urn:microsoft.com/office/officeart/2005/8/layout/vList5"/>
    <dgm:cxn modelId="{C4644E44-8A5C-4272-A97C-B95DB0640626}" srcId="{2DD46E62-36FA-415D-AB3F-DC923CCB6BBB}" destId="{03B852C4-C2E7-469F-8F18-0D9800C10733}" srcOrd="1" destOrd="0" parTransId="{81503B8A-AF6C-47D6-B5ED-1F5B6F70AA23}" sibTransId="{CB4CF7BF-7F49-44DF-A499-D2787B022D62}"/>
    <dgm:cxn modelId="{79A795B0-CB56-44CD-9241-1C33AE0EC82A}" srcId="{ACA58C29-1FB7-46BD-8FCD-C059814EA806}" destId="{A54DDDDA-3C9C-48DC-A011-7E209E457466}" srcOrd="1" destOrd="0" parTransId="{1ED98A9F-5F0D-496D-A850-903776F44C8F}" sibTransId="{D05C25E6-9EFE-4102-9080-E79BD7BB8625}"/>
    <dgm:cxn modelId="{815D95EA-629B-4594-A8E9-2569E6DF4EED}" srcId="{A54DDDDA-3C9C-48DC-A011-7E209E457466}" destId="{07260B8B-CB90-4AA2-B100-137F687FDA00}" srcOrd="1" destOrd="0" parTransId="{29D90068-85CC-4A74-A0ED-7F27D0E1D0F0}" sibTransId="{AC44C685-434A-4B2A-BFE8-E35C96A9F250}"/>
    <dgm:cxn modelId="{58A578D4-5DDB-497F-A197-DF18CDDA6790}" type="presOf" srcId="{A9B7BAB3-EFFF-4420-ACB5-2F6AB46F5EBE}" destId="{514860EF-17B3-4B1D-A546-DDD9AF61526D}" srcOrd="0" destOrd="0" presId="urn:microsoft.com/office/officeart/2005/8/layout/vList5"/>
    <dgm:cxn modelId="{F748F3D0-166D-466C-9ADC-3AA6EFA2C74C}" srcId="{D7DA8A9C-B74A-4C3A-AD78-6C36C357F04B}" destId="{A6D7B0E6-696C-4E48-BAF6-3F555EAADD73}" srcOrd="0" destOrd="0" parTransId="{C6B19DBB-E21A-42D7-9120-8D1647B485FA}" sibTransId="{3E007CC9-F220-47A3-A82B-1D900E0D396D}"/>
    <dgm:cxn modelId="{F400665E-C69B-4B6E-8BA3-85198CD1907E}" type="presOf" srcId="{B8844D65-5BD8-4BA7-A91C-758925605364}" destId="{2EF373FA-6663-41F2-8AD5-3B97D8CFCE65}" srcOrd="0" destOrd="1" presId="urn:microsoft.com/office/officeart/2005/8/layout/vList5"/>
    <dgm:cxn modelId="{DC26FF46-ECB5-4A4D-A579-353DA9AE1561}" type="presOf" srcId="{D7DA8A9C-B74A-4C3A-AD78-6C36C357F04B}" destId="{83748B15-655A-499E-AE97-5681E3B432E2}" srcOrd="0" destOrd="0" presId="urn:microsoft.com/office/officeart/2005/8/layout/vList5"/>
    <dgm:cxn modelId="{E9F1D786-58FC-4716-A2E6-04F71D4A84D7}" type="presOf" srcId="{C59B5488-2D93-4C22-8058-E349A1CCBAA3}" destId="{C373A146-BA82-4B1B-A21A-D833FD5DE1D4}" srcOrd="0" destOrd="0" presId="urn:microsoft.com/office/officeart/2005/8/layout/vList5"/>
    <dgm:cxn modelId="{CB185C86-E066-43C5-B6B4-E17592D5E352}" srcId="{2DD46E62-36FA-415D-AB3F-DC923CCB6BBB}" destId="{C59B5488-2D93-4C22-8058-E349A1CCBAA3}" srcOrd="0" destOrd="0" parTransId="{C5E57140-27C0-4D24-B0B4-DCF4EB4DC5C9}" sibTransId="{11E16311-BA95-4D5F-B050-57A2833E534D}"/>
    <dgm:cxn modelId="{9EABCFDA-B0A7-46F3-82A1-6F5CE5B2AED1}" type="presOf" srcId="{07260B8B-CB90-4AA2-B100-137F687FDA00}" destId="{514860EF-17B3-4B1D-A546-DDD9AF61526D}" srcOrd="0" destOrd="1" presId="urn:microsoft.com/office/officeart/2005/8/layout/vList5"/>
    <dgm:cxn modelId="{5D0DF26F-943A-4BF2-B026-C12D48FCB152}" type="presOf" srcId="{A54DDDDA-3C9C-48DC-A011-7E209E457466}" destId="{9CE3A155-4E42-49E9-BF57-D3B064BA681F}" srcOrd="0" destOrd="0" presId="urn:microsoft.com/office/officeart/2005/8/layout/vList5"/>
    <dgm:cxn modelId="{19F40CA2-BF6D-48FD-A61A-F9C6A3DD5ED4}" type="presOf" srcId="{A6D7B0E6-696C-4E48-BAF6-3F555EAADD73}" destId="{2EF373FA-6663-41F2-8AD5-3B97D8CFCE65}" srcOrd="0" destOrd="0" presId="urn:microsoft.com/office/officeart/2005/8/layout/vList5"/>
    <dgm:cxn modelId="{E6BEFE6F-37D4-4E13-B8D3-22AD54E68A6E}" type="presOf" srcId="{ACA58C29-1FB7-46BD-8FCD-C059814EA806}" destId="{1706579A-5649-46BA-B4EB-E6BA60D69482}" srcOrd="0" destOrd="0" presId="urn:microsoft.com/office/officeart/2005/8/layout/vList5"/>
    <dgm:cxn modelId="{797BF880-30BC-4CC1-A371-E31DEE87639C}" type="presOf" srcId="{2DD46E62-36FA-415D-AB3F-DC923CCB6BBB}" destId="{7BA21780-1FAC-4367-B907-FEF18D038307}" srcOrd="0" destOrd="0" presId="urn:microsoft.com/office/officeart/2005/8/layout/vList5"/>
    <dgm:cxn modelId="{89835A78-5FFD-4FCD-B4A2-314AD93B4A77}" srcId="{D7DA8A9C-B74A-4C3A-AD78-6C36C357F04B}" destId="{B8844D65-5BD8-4BA7-A91C-758925605364}" srcOrd="1" destOrd="0" parTransId="{8A65C167-F4BA-4748-B2CC-2658CA6AD630}" sibTransId="{010BB93E-8DF4-4D27-8388-466446471116}"/>
    <dgm:cxn modelId="{DB8FED9E-0F61-4FFC-AAE3-4E9A03157F89}" srcId="{ACA58C29-1FB7-46BD-8FCD-C059814EA806}" destId="{2DD46E62-36FA-415D-AB3F-DC923CCB6BBB}" srcOrd="2" destOrd="0" parTransId="{7B94C471-2CE8-4CCE-85CB-6532ADEBD913}" sibTransId="{0F2F6F4D-5A67-4CF4-8ABD-46D678809D2C}"/>
    <dgm:cxn modelId="{7AAC5B19-C650-438C-9AE5-C976E78E8735}" srcId="{A54DDDDA-3C9C-48DC-A011-7E209E457466}" destId="{A9B7BAB3-EFFF-4420-ACB5-2F6AB46F5EBE}" srcOrd="0" destOrd="0" parTransId="{091A892F-7103-46C5-AECE-6C5222CC6027}" sibTransId="{C691F441-16E7-4764-BF7D-E13528760940}"/>
    <dgm:cxn modelId="{C0230090-B3B0-453F-8C30-93F2EA8AF435}" type="presParOf" srcId="{1706579A-5649-46BA-B4EB-E6BA60D69482}" destId="{DAA31EEC-5CA6-4410-86D5-6C0A4C791767}" srcOrd="0" destOrd="0" presId="urn:microsoft.com/office/officeart/2005/8/layout/vList5"/>
    <dgm:cxn modelId="{EB7317EA-2D96-4C5E-983C-27FEEA5AE96F}" type="presParOf" srcId="{DAA31EEC-5CA6-4410-86D5-6C0A4C791767}" destId="{83748B15-655A-499E-AE97-5681E3B432E2}" srcOrd="0" destOrd="0" presId="urn:microsoft.com/office/officeart/2005/8/layout/vList5"/>
    <dgm:cxn modelId="{4589A172-F100-4505-BE2A-09E16FCF7C34}" type="presParOf" srcId="{DAA31EEC-5CA6-4410-86D5-6C0A4C791767}" destId="{2EF373FA-6663-41F2-8AD5-3B97D8CFCE65}" srcOrd="1" destOrd="0" presId="urn:microsoft.com/office/officeart/2005/8/layout/vList5"/>
    <dgm:cxn modelId="{2EA04BBE-0CF1-43D3-99F8-EE8A4EFA3633}" type="presParOf" srcId="{1706579A-5649-46BA-B4EB-E6BA60D69482}" destId="{9A501643-933B-4B59-BE7E-7BEDD108F369}" srcOrd="1" destOrd="0" presId="urn:microsoft.com/office/officeart/2005/8/layout/vList5"/>
    <dgm:cxn modelId="{B5DF2490-D627-4594-B741-18D80A1DE7D3}" type="presParOf" srcId="{1706579A-5649-46BA-B4EB-E6BA60D69482}" destId="{2EE2A421-A4DC-45B5-9961-40526C85ECC0}" srcOrd="2" destOrd="0" presId="urn:microsoft.com/office/officeart/2005/8/layout/vList5"/>
    <dgm:cxn modelId="{4A63C9C1-DB69-43CB-A579-2AB9115C5AE5}" type="presParOf" srcId="{2EE2A421-A4DC-45B5-9961-40526C85ECC0}" destId="{9CE3A155-4E42-49E9-BF57-D3B064BA681F}" srcOrd="0" destOrd="0" presId="urn:microsoft.com/office/officeart/2005/8/layout/vList5"/>
    <dgm:cxn modelId="{5594DA71-BB29-41B3-93BA-7FE8D0E7965E}" type="presParOf" srcId="{2EE2A421-A4DC-45B5-9961-40526C85ECC0}" destId="{514860EF-17B3-4B1D-A546-DDD9AF61526D}" srcOrd="1" destOrd="0" presId="urn:microsoft.com/office/officeart/2005/8/layout/vList5"/>
    <dgm:cxn modelId="{F95157CE-2B74-4D88-B853-2977CF438452}" type="presParOf" srcId="{1706579A-5649-46BA-B4EB-E6BA60D69482}" destId="{FD2F651D-16AD-494F-BD3B-2C1D0B499E3B}" srcOrd="3" destOrd="0" presId="urn:microsoft.com/office/officeart/2005/8/layout/vList5"/>
    <dgm:cxn modelId="{A7A8EBB4-5244-4917-B906-3A2337BA9E54}" type="presParOf" srcId="{1706579A-5649-46BA-B4EB-E6BA60D69482}" destId="{63B50C59-7165-40E7-93B4-16D0693AE947}" srcOrd="4" destOrd="0" presId="urn:microsoft.com/office/officeart/2005/8/layout/vList5"/>
    <dgm:cxn modelId="{13A2EB13-14CC-4766-AD2C-5D45076FE14D}" type="presParOf" srcId="{63B50C59-7165-40E7-93B4-16D0693AE947}" destId="{7BA21780-1FAC-4367-B907-FEF18D038307}" srcOrd="0" destOrd="0" presId="urn:microsoft.com/office/officeart/2005/8/layout/vList5"/>
    <dgm:cxn modelId="{9BAAFC25-88BA-45F5-97FB-FF6B7DC863DE}" type="presParOf" srcId="{63B50C59-7165-40E7-93B4-16D0693AE947}" destId="{C373A146-BA82-4B1B-A21A-D833FD5DE1D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Documentation</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r>
            <a:rPr lang="en-GB" sz="2000" dirty="0" smtClean="0"/>
            <a:t>Help other users use the code</a:t>
          </a:r>
          <a:endParaRPr lang="en-GB" sz="20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A54DDDDA-3C9C-48DC-A011-7E209E457466}">
      <dgm:prSet phldrT="[Text]" custT="1"/>
      <dgm:spPr>
        <a:solidFill>
          <a:schemeClr val="accent1"/>
        </a:solidFill>
      </dgm:spPr>
      <dgm:t>
        <a:bodyPr/>
        <a:lstStyle/>
        <a:p>
          <a:pPr algn="l"/>
          <a:r>
            <a:rPr lang="en-GB" sz="2800" dirty="0" smtClean="0"/>
            <a:t>Testing</a:t>
          </a:r>
          <a:endParaRPr lang="en-GB" sz="2800" dirty="0"/>
        </a:p>
      </dgm:t>
    </dgm:pt>
    <dgm:pt modelId="{1ED98A9F-5F0D-496D-A850-903776F44C8F}" type="parTrans" cxnId="{79A795B0-CB56-44CD-9241-1C33AE0EC82A}">
      <dgm:prSet/>
      <dgm:spPr/>
      <dgm:t>
        <a:bodyPr/>
        <a:lstStyle/>
        <a:p>
          <a:endParaRPr lang="en-GB"/>
        </a:p>
      </dgm:t>
    </dgm:pt>
    <dgm:pt modelId="{D05C25E6-9EFE-4102-9080-E79BD7BB8625}" type="sibTrans" cxnId="{79A795B0-CB56-44CD-9241-1C33AE0EC82A}">
      <dgm:prSet/>
      <dgm:spPr/>
      <dgm:t>
        <a:bodyPr/>
        <a:lstStyle/>
        <a:p>
          <a:endParaRPr lang="en-GB"/>
        </a:p>
      </dgm:t>
    </dgm:pt>
    <dgm:pt modelId="{A9B7BAB3-EFFF-4420-ACB5-2F6AB46F5EBE}">
      <dgm:prSet phldrT="[Text]" custT="1"/>
      <dgm:spPr>
        <a:solidFill>
          <a:schemeClr val="bg1">
            <a:alpha val="90000"/>
          </a:schemeClr>
        </a:solidFill>
        <a:ln>
          <a:noFill/>
        </a:ln>
      </dgm:spPr>
      <dgm:t>
        <a:bodyPr/>
        <a:lstStyle/>
        <a:p>
          <a:r>
            <a:rPr lang="en-GB" sz="2000" dirty="0" smtClean="0"/>
            <a:t>Proof the code works</a:t>
          </a:r>
          <a:endParaRPr lang="en-GB" sz="2000" dirty="0"/>
        </a:p>
      </dgm:t>
    </dgm:pt>
    <dgm:pt modelId="{091A892F-7103-46C5-AECE-6C5222CC6027}" type="parTrans" cxnId="{7AAC5B19-C650-438C-9AE5-C976E78E8735}">
      <dgm:prSet/>
      <dgm:spPr/>
      <dgm:t>
        <a:bodyPr/>
        <a:lstStyle/>
        <a:p>
          <a:endParaRPr lang="en-GB"/>
        </a:p>
      </dgm:t>
    </dgm:pt>
    <dgm:pt modelId="{C691F441-16E7-4764-BF7D-E13528760940}" type="sibTrans" cxnId="{7AAC5B19-C650-438C-9AE5-C976E78E8735}">
      <dgm:prSet/>
      <dgm:spPr/>
      <dgm:t>
        <a:bodyPr/>
        <a:lstStyle/>
        <a:p>
          <a:endParaRPr lang="en-GB"/>
        </a:p>
      </dgm:t>
    </dgm:pt>
    <dgm:pt modelId="{07260B8B-CB90-4AA2-B100-137F687FDA00}">
      <dgm:prSet phldrT="[Text]" custT="1"/>
      <dgm:spPr>
        <a:solidFill>
          <a:schemeClr val="bg1">
            <a:alpha val="90000"/>
          </a:schemeClr>
        </a:solidFill>
        <a:ln>
          <a:noFill/>
        </a:ln>
      </dgm:spPr>
      <dgm:t>
        <a:bodyPr/>
        <a:lstStyle/>
        <a:p>
          <a:r>
            <a:rPr lang="en-GB" sz="2000" dirty="0" smtClean="0"/>
            <a:t>Test future changes</a:t>
          </a:r>
          <a:endParaRPr lang="en-GB" sz="2000" dirty="0"/>
        </a:p>
      </dgm:t>
    </dgm:pt>
    <dgm:pt modelId="{29D90068-85CC-4A74-A0ED-7F27D0E1D0F0}" type="parTrans" cxnId="{815D95EA-629B-4594-A8E9-2569E6DF4EED}">
      <dgm:prSet/>
      <dgm:spPr/>
      <dgm:t>
        <a:bodyPr/>
        <a:lstStyle/>
        <a:p>
          <a:endParaRPr lang="en-GB"/>
        </a:p>
      </dgm:t>
    </dgm:pt>
    <dgm:pt modelId="{AC44C685-434A-4B2A-BFE8-E35C96A9F250}" type="sibTrans" cxnId="{815D95EA-629B-4594-A8E9-2569E6DF4EED}">
      <dgm:prSet/>
      <dgm:spPr/>
      <dgm:t>
        <a:bodyPr/>
        <a:lstStyle/>
        <a:p>
          <a:endParaRPr lang="en-GB"/>
        </a:p>
      </dgm:t>
    </dgm:pt>
    <dgm:pt modelId="{2DD46E62-36FA-415D-AB3F-DC923CCB6BBB}">
      <dgm:prSet phldrT="[Text]" custT="1"/>
      <dgm:spPr>
        <a:solidFill>
          <a:schemeClr val="accent1"/>
        </a:solidFill>
      </dgm:spPr>
      <dgm:t>
        <a:bodyPr/>
        <a:lstStyle/>
        <a:p>
          <a:pPr algn="l"/>
          <a:r>
            <a:rPr lang="en-GB" sz="2800" dirty="0" smtClean="0"/>
            <a:t>Reproducibility</a:t>
          </a:r>
        </a:p>
      </dgm:t>
    </dgm:pt>
    <dgm:pt modelId="{7B94C471-2CE8-4CCE-85CB-6532ADEBD913}" type="parTrans" cxnId="{DB8FED9E-0F61-4FFC-AAE3-4E9A03157F89}">
      <dgm:prSet/>
      <dgm:spPr/>
      <dgm:t>
        <a:bodyPr/>
        <a:lstStyle/>
        <a:p>
          <a:endParaRPr lang="en-GB"/>
        </a:p>
      </dgm:t>
    </dgm:pt>
    <dgm:pt modelId="{0F2F6F4D-5A67-4CF4-8ABD-46D678809D2C}" type="sibTrans" cxnId="{DB8FED9E-0F61-4FFC-AAE3-4E9A03157F89}">
      <dgm:prSet/>
      <dgm:spPr/>
      <dgm:t>
        <a:bodyPr/>
        <a:lstStyle/>
        <a:p>
          <a:endParaRPr lang="en-GB"/>
        </a:p>
      </dgm:t>
    </dgm:pt>
    <dgm:pt modelId="{C59B5488-2D93-4C22-8058-E349A1CCBAA3}">
      <dgm:prSet phldrT="[Text]" custT="1"/>
      <dgm:spPr>
        <a:solidFill>
          <a:schemeClr val="bg1">
            <a:alpha val="90000"/>
          </a:schemeClr>
        </a:solidFill>
        <a:ln>
          <a:noFill/>
        </a:ln>
      </dgm:spPr>
      <dgm:t>
        <a:bodyPr/>
        <a:lstStyle/>
        <a:p>
          <a:r>
            <a:rPr lang="en-GB" sz="2000" dirty="0" smtClean="0"/>
            <a:t>Other users get the same results</a:t>
          </a:r>
          <a:endParaRPr lang="en-GB" sz="2000" dirty="0"/>
        </a:p>
      </dgm:t>
    </dgm:pt>
    <dgm:pt modelId="{C5E57140-27C0-4D24-B0B4-DCF4EB4DC5C9}" type="parTrans" cxnId="{CB185C86-E066-43C5-B6B4-E17592D5E352}">
      <dgm:prSet/>
      <dgm:spPr/>
      <dgm:t>
        <a:bodyPr/>
        <a:lstStyle/>
        <a:p>
          <a:endParaRPr lang="en-GB"/>
        </a:p>
      </dgm:t>
    </dgm:pt>
    <dgm:pt modelId="{11E16311-BA95-4D5F-B050-57A2833E534D}" type="sibTrans" cxnId="{CB185C86-E066-43C5-B6B4-E17592D5E352}">
      <dgm:prSet/>
      <dgm:spPr/>
      <dgm:t>
        <a:bodyPr/>
        <a:lstStyle/>
        <a:p>
          <a:endParaRPr lang="en-GB"/>
        </a:p>
      </dgm:t>
    </dgm:pt>
    <dgm:pt modelId="{03B852C4-C2E7-469F-8F18-0D9800C10733}">
      <dgm:prSet phldrT="[Text]" custT="1"/>
      <dgm:spPr>
        <a:solidFill>
          <a:schemeClr val="bg1">
            <a:alpha val="90000"/>
          </a:schemeClr>
        </a:solidFill>
        <a:ln>
          <a:noFill/>
        </a:ln>
      </dgm:spPr>
      <dgm:t>
        <a:bodyPr/>
        <a:lstStyle/>
        <a:p>
          <a:r>
            <a:rPr lang="en-GB" sz="2000" dirty="0" smtClean="0"/>
            <a:t>Audit what was done, by whom and when</a:t>
          </a:r>
          <a:endParaRPr lang="en-GB" sz="2000" dirty="0"/>
        </a:p>
      </dgm:t>
    </dgm:pt>
    <dgm:pt modelId="{81503B8A-AF6C-47D6-B5ED-1F5B6F70AA23}" type="parTrans" cxnId="{C4644E44-8A5C-4272-A97C-B95DB0640626}">
      <dgm:prSet/>
      <dgm:spPr/>
      <dgm:t>
        <a:bodyPr/>
        <a:lstStyle/>
        <a:p>
          <a:endParaRPr lang="en-GB"/>
        </a:p>
      </dgm:t>
    </dgm:pt>
    <dgm:pt modelId="{CB4CF7BF-7F49-44DF-A499-D2787B022D62}" type="sibTrans" cxnId="{C4644E44-8A5C-4272-A97C-B95DB0640626}">
      <dgm:prSet/>
      <dgm:spPr/>
      <dgm:t>
        <a:bodyPr/>
        <a:lstStyle/>
        <a:p>
          <a:endParaRPr lang="en-GB"/>
        </a:p>
      </dgm:t>
    </dgm:pt>
    <dgm:pt modelId="{49722152-7DF3-4B5C-A4ED-E2797BB15759}">
      <dgm:prSet custT="1"/>
      <dgm:spPr>
        <a:solidFill>
          <a:schemeClr val="accent1"/>
        </a:solidFill>
      </dgm:spPr>
      <dgm:t>
        <a:bodyPr/>
        <a:lstStyle/>
        <a:p>
          <a:pPr algn="l"/>
          <a:r>
            <a:rPr lang="en-GB" sz="2800" dirty="0" smtClean="0"/>
            <a:t>Change Control</a:t>
          </a:r>
          <a:endParaRPr lang="en-GB" sz="2800" dirty="0"/>
        </a:p>
      </dgm:t>
    </dgm:pt>
    <dgm:pt modelId="{C5394FA6-7E97-4309-83A2-1BE83E726EE4}" type="parTrans" cxnId="{A87C85DC-38BC-43E3-9DAD-A7E9E0D8450E}">
      <dgm:prSet/>
      <dgm:spPr/>
      <dgm:t>
        <a:bodyPr/>
        <a:lstStyle/>
        <a:p>
          <a:endParaRPr lang="en-GB"/>
        </a:p>
      </dgm:t>
    </dgm:pt>
    <dgm:pt modelId="{15AB567D-AB5E-4EA3-ADDC-70FB2383FD23}" type="sibTrans" cxnId="{A87C85DC-38BC-43E3-9DAD-A7E9E0D8450E}">
      <dgm:prSet/>
      <dgm:spPr/>
      <dgm:t>
        <a:bodyPr/>
        <a:lstStyle/>
        <a:p>
          <a:endParaRPr lang="en-GB"/>
        </a:p>
      </dgm:t>
    </dgm:pt>
    <dgm:pt modelId="{1FFAF8E6-81AE-43CC-BB55-56CF149A3C1F}">
      <dgm:prSet custT="1"/>
      <dgm:spPr>
        <a:solidFill>
          <a:schemeClr val="accent1"/>
        </a:solidFill>
      </dgm:spPr>
      <dgm:t>
        <a:bodyPr/>
        <a:lstStyle/>
        <a:p>
          <a:pPr algn="l"/>
          <a:r>
            <a:rPr lang="en-GB" sz="2800" dirty="0" smtClean="0"/>
            <a:t>Access Control</a:t>
          </a:r>
          <a:endParaRPr lang="en-GB" sz="2800" dirty="0"/>
        </a:p>
      </dgm:t>
    </dgm:pt>
    <dgm:pt modelId="{7750B110-5A62-4F86-8678-AD5E5240BF15}" type="parTrans" cxnId="{2071D516-6820-4025-8D27-72D32F5DC637}">
      <dgm:prSet/>
      <dgm:spPr/>
      <dgm:t>
        <a:bodyPr/>
        <a:lstStyle/>
        <a:p>
          <a:endParaRPr lang="en-GB"/>
        </a:p>
      </dgm:t>
    </dgm:pt>
    <dgm:pt modelId="{C5ADE18C-356F-4199-84AF-F8C406BE0852}" type="sibTrans" cxnId="{2071D516-6820-4025-8D27-72D32F5DC637}">
      <dgm:prSet/>
      <dgm:spPr/>
      <dgm:t>
        <a:bodyPr/>
        <a:lstStyle/>
        <a:p>
          <a:endParaRPr lang="en-GB"/>
        </a:p>
      </dgm:t>
    </dgm:pt>
    <dgm:pt modelId="{816C9E9B-1C83-4085-9B81-9440D8708E7D}">
      <dgm:prSet custT="1"/>
      <dgm:spPr>
        <a:noFill/>
        <a:ln>
          <a:noFill/>
        </a:ln>
      </dgm:spPr>
      <dgm:t>
        <a:bodyPr/>
        <a:lstStyle/>
        <a:p>
          <a:r>
            <a:rPr lang="en-GB" sz="2000" dirty="0" smtClean="0"/>
            <a:t>Record changes and reason</a:t>
          </a:r>
          <a:endParaRPr lang="en-GB" sz="2000" dirty="0"/>
        </a:p>
      </dgm:t>
    </dgm:pt>
    <dgm:pt modelId="{6FA7771E-B259-4C30-A8CA-61B8A63BF73F}" type="parTrans" cxnId="{46295C05-0142-4EA1-AEF8-EB2DBE4C7E84}">
      <dgm:prSet/>
      <dgm:spPr/>
      <dgm:t>
        <a:bodyPr/>
        <a:lstStyle/>
        <a:p>
          <a:endParaRPr lang="en-GB"/>
        </a:p>
      </dgm:t>
    </dgm:pt>
    <dgm:pt modelId="{C8DA13AD-69BE-46DF-A97B-99AD0D4EF025}" type="sibTrans" cxnId="{46295C05-0142-4EA1-AEF8-EB2DBE4C7E84}">
      <dgm:prSet/>
      <dgm:spPr/>
      <dgm:t>
        <a:bodyPr/>
        <a:lstStyle/>
        <a:p>
          <a:endParaRPr lang="en-GB"/>
        </a:p>
      </dgm:t>
    </dgm:pt>
    <dgm:pt modelId="{2736D37F-50A0-4879-9C9B-4DE378A4E401}">
      <dgm:prSet phldrT="[Text]" custT="1"/>
      <dgm:spPr>
        <a:solidFill>
          <a:schemeClr val="bg1">
            <a:alpha val="90000"/>
          </a:schemeClr>
        </a:solidFill>
        <a:ln>
          <a:noFill/>
        </a:ln>
      </dgm:spPr>
      <dgm:t>
        <a:bodyPr/>
        <a:lstStyle/>
        <a:p>
          <a:r>
            <a:rPr lang="en-GB" sz="2000" dirty="0" smtClean="0"/>
            <a:t>Ease future development</a:t>
          </a:r>
          <a:endParaRPr lang="en-GB" sz="2000" dirty="0"/>
        </a:p>
      </dgm:t>
    </dgm:pt>
    <dgm:pt modelId="{027B2E42-DD68-4ED7-B74E-7B8D37F74DF9}" type="parTrans" cxnId="{4877591E-623D-4861-A1F4-152DECBCF830}">
      <dgm:prSet/>
      <dgm:spPr/>
      <dgm:t>
        <a:bodyPr/>
        <a:lstStyle/>
        <a:p>
          <a:endParaRPr lang="en-GB"/>
        </a:p>
      </dgm:t>
    </dgm:pt>
    <dgm:pt modelId="{C7720B2E-B137-4098-9B69-D3A7760EA944}" type="sibTrans" cxnId="{4877591E-623D-4861-A1F4-152DECBCF830}">
      <dgm:prSet/>
      <dgm:spPr/>
      <dgm:t>
        <a:bodyPr/>
        <a:lstStyle/>
        <a:p>
          <a:endParaRPr lang="en-GB"/>
        </a:p>
      </dgm:t>
    </dgm:pt>
    <dgm:pt modelId="{5F11CA8E-58EA-491E-9769-CC65A8626AF0}">
      <dgm:prSet custT="1"/>
      <dgm:spPr>
        <a:noFill/>
        <a:ln>
          <a:noFill/>
        </a:ln>
      </dgm:spPr>
      <dgm:t>
        <a:bodyPr/>
        <a:lstStyle/>
        <a:p>
          <a:r>
            <a:rPr lang="en-GB" sz="2000" dirty="0" smtClean="0"/>
            <a:t>Proposed, review and approve changes</a:t>
          </a:r>
          <a:endParaRPr lang="en-GB" sz="2000" dirty="0"/>
        </a:p>
      </dgm:t>
    </dgm:pt>
    <dgm:pt modelId="{1848B2F5-B53F-4A6D-8754-6822421300C6}" type="parTrans" cxnId="{F94E4975-A2A5-48C0-AD46-02C29BFD0A6E}">
      <dgm:prSet/>
      <dgm:spPr/>
      <dgm:t>
        <a:bodyPr/>
        <a:lstStyle/>
        <a:p>
          <a:endParaRPr lang="en-GB"/>
        </a:p>
      </dgm:t>
    </dgm:pt>
    <dgm:pt modelId="{92C711C8-D714-422F-B2E5-82A6DB2617F1}" type="sibTrans" cxnId="{F94E4975-A2A5-48C0-AD46-02C29BFD0A6E}">
      <dgm:prSet/>
      <dgm:spPr/>
      <dgm:t>
        <a:bodyPr/>
        <a:lstStyle/>
        <a:p>
          <a:endParaRPr lang="en-GB"/>
        </a:p>
      </dgm:t>
    </dgm:pt>
    <dgm:pt modelId="{DBF2953D-3321-4AE3-8312-148775A1E8C6}">
      <dgm:prSet custT="1"/>
      <dgm:spPr>
        <a:solidFill>
          <a:schemeClr val="accent1"/>
        </a:solidFill>
        <a:ln>
          <a:noFill/>
        </a:ln>
      </dgm:spPr>
      <dgm:t>
        <a:bodyPr/>
        <a:lstStyle/>
        <a:p>
          <a:pPr algn="l"/>
          <a:r>
            <a:rPr lang="en-GB" sz="2000" dirty="0" smtClean="0"/>
            <a:t>Control who has access</a:t>
          </a:r>
          <a:endParaRPr lang="en-GB" sz="2000" dirty="0"/>
        </a:p>
      </dgm:t>
    </dgm:pt>
    <dgm:pt modelId="{72C02E3C-BD86-4237-83EC-EBE428E1E068}" type="parTrans" cxnId="{2C2AA669-077B-4717-8FCB-D33C7090A214}">
      <dgm:prSet/>
      <dgm:spPr/>
      <dgm:t>
        <a:bodyPr/>
        <a:lstStyle/>
        <a:p>
          <a:endParaRPr lang="en-GB"/>
        </a:p>
      </dgm:t>
    </dgm:pt>
    <dgm:pt modelId="{CE235E87-FCF0-4DFE-BC65-130A2300920F}" type="sibTrans" cxnId="{2C2AA669-077B-4717-8FCB-D33C7090A214}">
      <dgm:prSet/>
      <dgm:spPr/>
      <dgm:t>
        <a:bodyPr/>
        <a:lstStyle/>
        <a:p>
          <a:endParaRPr lang="en-GB"/>
        </a:p>
      </dgm:t>
    </dgm:pt>
    <dgm:pt modelId="{24814EB0-FA86-45AF-851A-1E06165B55C8}">
      <dgm:prSet custT="1"/>
      <dgm:spPr>
        <a:solidFill>
          <a:schemeClr val="accent1"/>
        </a:solidFill>
        <a:ln>
          <a:noFill/>
        </a:ln>
      </dgm:spPr>
      <dgm:t>
        <a:bodyPr/>
        <a:lstStyle/>
        <a:p>
          <a:pPr algn="l"/>
          <a:r>
            <a:rPr lang="en-GB" sz="2000" dirty="0" smtClean="0"/>
            <a:t>Disaster recovery</a:t>
          </a:r>
          <a:endParaRPr lang="en-GB" sz="2000" dirty="0"/>
        </a:p>
      </dgm:t>
    </dgm:pt>
    <dgm:pt modelId="{13F8FF19-5CA2-49A3-AFD2-D1795230A4EC}" type="parTrans" cxnId="{C7C5F7F6-012E-4B5F-B2C6-EAACC744F6D5}">
      <dgm:prSet/>
      <dgm:spPr/>
      <dgm:t>
        <a:bodyPr/>
        <a:lstStyle/>
        <a:p>
          <a:endParaRPr lang="en-GB"/>
        </a:p>
      </dgm:t>
    </dgm:pt>
    <dgm:pt modelId="{7B7202D7-D798-4B93-A1E0-FE14678760A6}" type="sibTrans" cxnId="{C7C5F7F6-012E-4B5F-B2C6-EAACC744F6D5}">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5">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5">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2EE2A421-A4DC-45B5-9961-40526C85ECC0}" type="pres">
      <dgm:prSet presAssocID="{A54DDDDA-3C9C-48DC-A011-7E209E457466}" presName="linNode" presStyleCnt="0"/>
      <dgm:spPr/>
      <dgm:t>
        <a:bodyPr/>
        <a:lstStyle/>
        <a:p>
          <a:endParaRPr lang="en-GB"/>
        </a:p>
      </dgm:t>
    </dgm:pt>
    <dgm:pt modelId="{9CE3A155-4E42-49E9-BF57-D3B064BA681F}" type="pres">
      <dgm:prSet presAssocID="{A54DDDDA-3C9C-48DC-A011-7E209E457466}" presName="parentText" presStyleLbl="node1" presStyleIdx="1" presStyleCnt="5">
        <dgm:presLayoutVars>
          <dgm:chMax val="1"/>
          <dgm:bulletEnabled val="1"/>
        </dgm:presLayoutVars>
      </dgm:prSet>
      <dgm:spPr>
        <a:prstGeom prst="rect">
          <a:avLst/>
        </a:prstGeom>
      </dgm:spPr>
      <dgm:t>
        <a:bodyPr/>
        <a:lstStyle/>
        <a:p>
          <a:endParaRPr lang="en-GB"/>
        </a:p>
      </dgm:t>
    </dgm:pt>
    <dgm:pt modelId="{514860EF-17B3-4B1D-A546-DDD9AF61526D}" type="pres">
      <dgm:prSet presAssocID="{A54DDDDA-3C9C-48DC-A011-7E209E457466}" presName="descendantText" presStyleLbl="alignAccFollowNode1" presStyleIdx="1" presStyleCnt="5">
        <dgm:presLayoutVars>
          <dgm:bulletEnabled val="1"/>
        </dgm:presLayoutVars>
      </dgm:prSet>
      <dgm:spPr/>
      <dgm:t>
        <a:bodyPr/>
        <a:lstStyle/>
        <a:p>
          <a:endParaRPr lang="en-GB"/>
        </a:p>
      </dgm:t>
    </dgm:pt>
    <dgm:pt modelId="{FD2F651D-16AD-494F-BD3B-2C1D0B499E3B}" type="pres">
      <dgm:prSet presAssocID="{D05C25E6-9EFE-4102-9080-E79BD7BB8625}" presName="sp" presStyleCnt="0"/>
      <dgm:spPr/>
      <dgm:t>
        <a:bodyPr/>
        <a:lstStyle/>
        <a:p>
          <a:endParaRPr lang="en-GB"/>
        </a:p>
      </dgm:t>
    </dgm:pt>
    <dgm:pt modelId="{63B50C59-7165-40E7-93B4-16D0693AE947}" type="pres">
      <dgm:prSet presAssocID="{2DD46E62-36FA-415D-AB3F-DC923CCB6BBB}" presName="linNode" presStyleCnt="0"/>
      <dgm:spPr/>
      <dgm:t>
        <a:bodyPr/>
        <a:lstStyle/>
        <a:p>
          <a:endParaRPr lang="en-GB"/>
        </a:p>
      </dgm:t>
    </dgm:pt>
    <dgm:pt modelId="{7BA21780-1FAC-4367-B907-FEF18D038307}" type="pres">
      <dgm:prSet presAssocID="{2DD46E62-36FA-415D-AB3F-DC923CCB6BBB}" presName="parentText" presStyleLbl="node1" presStyleIdx="2" presStyleCnt="5">
        <dgm:presLayoutVars>
          <dgm:chMax val="1"/>
          <dgm:bulletEnabled val="1"/>
        </dgm:presLayoutVars>
      </dgm:prSet>
      <dgm:spPr>
        <a:prstGeom prst="rect">
          <a:avLst/>
        </a:prstGeom>
      </dgm:spPr>
      <dgm:t>
        <a:bodyPr/>
        <a:lstStyle/>
        <a:p>
          <a:endParaRPr lang="en-GB"/>
        </a:p>
      </dgm:t>
    </dgm:pt>
    <dgm:pt modelId="{C373A146-BA82-4B1B-A21A-D833FD5DE1D4}" type="pres">
      <dgm:prSet presAssocID="{2DD46E62-36FA-415D-AB3F-DC923CCB6BBB}" presName="descendantText" presStyleLbl="alignAccFollowNode1" presStyleIdx="2" presStyleCnt="5">
        <dgm:presLayoutVars>
          <dgm:bulletEnabled val="1"/>
        </dgm:presLayoutVars>
      </dgm:prSet>
      <dgm:spPr/>
      <dgm:t>
        <a:bodyPr/>
        <a:lstStyle/>
        <a:p>
          <a:endParaRPr lang="en-GB"/>
        </a:p>
      </dgm:t>
    </dgm:pt>
    <dgm:pt modelId="{C88199AA-D787-4748-B9C8-0CA7DB801CB5}" type="pres">
      <dgm:prSet presAssocID="{0F2F6F4D-5A67-4CF4-8ABD-46D678809D2C}" presName="sp" presStyleCnt="0"/>
      <dgm:spPr/>
    </dgm:pt>
    <dgm:pt modelId="{3E2CB9AD-3FB9-4A74-9835-E0478AD2F4E9}" type="pres">
      <dgm:prSet presAssocID="{49722152-7DF3-4B5C-A4ED-E2797BB15759}" presName="linNode" presStyleCnt="0"/>
      <dgm:spPr/>
    </dgm:pt>
    <dgm:pt modelId="{5D41022F-723C-46B6-B845-1632F91BE319}" type="pres">
      <dgm:prSet presAssocID="{49722152-7DF3-4B5C-A4ED-E2797BB15759}" presName="parentText" presStyleLbl="node1" presStyleIdx="3" presStyleCnt="5">
        <dgm:presLayoutVars>
          <dgm:chMax val="1"/>
          <dgm:bulletEnabled val="1"/>
        </dgm:presLayoutVars>
      </dgm:prSet>
      <dgm:spPr>
        <a:prstGeom prst="rect">
          <a:avLst/>
        </a:prstGeom>
      </dgm:spPr>
      <dgm:t>
        <a:bodyPr/>
        <a:lstStyle/>
        <a:p>
          <a:endParaRPr lang="en-GB"/>
        </a:p>
      </dgm:t>
    </dgm:pt>
    <dgm:pt modelId="{7081E6C7-07E7-4844-B563-AAB771FB1B67}" type="pres">
      <dgm:prSet presAssocID="{49722152-7DF3-4B5C-A4ED-E2797BB15759}" presName="descendantText" presStyleLbl="alignAccFollowNode1" presStyleIdx="3" presStyleCnt="5">
        <dgm:presLayoutVars>
          <dgm:bulletEnabled val="1"/>
        </dgm:presLayoutVars>
      </dgm:prSet>
      <dgm:spPr/>
      <dgm:t>
        <a:bodyPr/>
        <a:lstStyle/>
        <a:p>
          <a:endParaRPr lang="en-GB"/>
        </a:p>
      </dgm:t>
    </dgm:pt>
    <dgm:pt modelId="{181E8C41-996B-44C1-8813-19AF43737BFF}" type="pres">
      <dgm:prSet presAssocID="{15AB567D-AB5E-4EA3-ADDC-70FB2383FD23}" presName="sp" presStyleCnt="0"/>
      <dgm:spPr/>
    </dgm:pt>
    <dgm:pt modelId="{9915B8F7-9681-4F5B-B060-41D06FEB5D86}" type="pres">
      <dgm:prSet presAssocID="{1FFAF8E6-81AE-43CC-BB55-56CF149A3C1F}" presName="linNode" presStyleCnt="0"/>
      <dgm:spPr/>
    </dgm:pt>
    <dgm:pt modelId="{86BD4A42-F110-4F93-9863-FA1DE4747C8E}" type="pres">
      <dgm:prSet presAssocID="{1FFAF8E6-81AE-43CC-BB55-56CF149A3C1F}" presName="parentText" presStyleLbl="node1" presStyleIdx="4" presStyleCnt="5">
        <dgm:presLayoutVars>
          <dgm:chMax val="1"/>
          <dgm:bulletEnabled val="1"/>
        </dgm:presLayoutVars>
      </dgm:prSet>
      <dgm:spPr>
        <a:prstGeom prst="rect">
          <a:avLst/>
        </a:prstGeom>
      </dgm:spPr>
      <dgm:t>
        <a:bodyPr/>
        <a:lstStyle/>
        <a:p>
          <a:endParaRPr lang="en-GB"/>
        </a:p>
      </dgm:t>
    </dgm:pt>
    <dgm:pt modelId="{560A84CE-650C-460A-B970-47E98E295324}" type="pres">
      <dgm:prSet presAssocID="{1FFAF8E6-81AE-43CC-BB55-56CF149A3C1F}" presName="descendantText" presStyleLbl="alignAccFollowNode1" presStyleIdx="4" presStyleCnt="5">
        <dgm:presLayoutVars>
          <dgm:bulletEnabled val="1"/>
        </dgm:presLayoutVars>
      </dgm:prSet>
      <dgm:spPr>
        <a:noFill/>
      </dgm:spPr>
      <dgm:t>
        <a:bodyPr/>
        <a:lstStyle/>
        <a:p>
          <a:endParaRPr lang="en-GB"/>
        </a:p>
      </dgm:t>
    </dgm:pt>
  </dgm:ptLst>
  <dgm:cxnLst>
    <dgm:cxn modelId="{B955609B-D228-441A-B34D-09E1BDC1AC66}" type="presOf" srcId="{07260B8B-CB90-4AA2-B100-137F687FDA00}" destId="{514860EF-17B3-4B1D-A546-DDD9AF61526D}" srcOrd="0" destOrd="1" presId="urn:microsoft.com/office/officeart/2005/8/layout/vList5"/>
    <dgm:cxn modelId="{618B7593-C8F6-4167-B80B-8E59E767BFA5}" srcId="{ACA58C29-1FB7-46BD-8FCD-C059814EA806}" destId="{D7DA8A9C-B74A-4C3A-AD78-6C36C357F04B}" srcOrd="0" destOrd="0" parTransId="{7E72F7B3-C3B2-47EE-B0D3-775ED62011A8}" sibTransId="{D26CB386-EADB-46DD-A810-3B5E065B544B}"/>
    <dgm:cxn modelId="{2B127DF7-C77C-4FE0-A2D5-6C97002CFEF1}" type="presOf" srcId="{5F11CA8E-58EA-491E-9769-CC65A8626AF0}" destId="{7081E6C7-07E7-4844-B563-AAB771FB1B67}" srcOrd="0" destOrd="1" presId="urn:microsoft.com/office/officeart/2005/8/layout/vList5"/>
    <dgm:cxn modelId="{55901D47-F155-4FA5-9AB0-1DC5097BA950}" type="presOf" srcId="{2736D37F-50A0-4879-9C9B-4DE378A4E401}" destId="{2EF373FA-6663-41F2-8AD5-3B97D8CFCE65}" srcOrd="0" destOrd="1" presId="urn:microsoft.com/office/officeart/2005/8/layout/vList5"/>
    <dgm:cxn modelId="{A87C85DC-38BC-43E3-9DAD-A7E9E0D8450E}" srcId="{ACA58C29-1FB7-46BD-8FCD-C059814EA806}" destId="{49722152-7DF3-4B5C-A4ED-E2797BB15759}" srcOrd="3" destOrd="0" parTransId="{C5394FA6-7E97-4309-83A2-1BE83E726EE4}" sibTransId="{15AB567D-AB5E-4EA3-ADDC-70FB2383FD23}"/>
    <dgm:cxn modelId="{4877591E-623D-4861-A1F4-152DECBCF830}" srcId="{D7DA8A9C-B74A-4C3A-AD78-6C36C357F04B}" destId="{2736D37F-50A0-4879-9C9B-4DE378A4E401}" srcOrd="1" destOrd="0" parTransId="{027B2E42-DD68-4ED7-B74E-7B8D37F74DF9}" sibTransId="{C7720B2E-B137-4098-9B69-D3A7760EA944}"/>
    <dgm:cxn modelId="{54CA0D0D-1333-4A27-B6CD-CBB301249DD8}" type="presOf" srcId="{49722152-7DF3-4B5C-A4ED-E2797BB15759}" destId="{5D41022F-723C-46B6-B845-1632F91BE319}" srcOrd="0" destOrd="0" presId="urn:microsoft.com/office/officeart/2005/8/layout/vList5"/>
    <dgm:cxn modelId="{2071D516-6820-4025-8D27-72D32F5DC637}" srcId="{ACA58C29-1FB7-46BD-8FCD-C059814EA806}" destId="{1FFAF8E6-81AE-43CC-BB55-56CF149A3C1F}" srcOrd="4" destOrd="0" parTransId="{7750B110-5A62-4F86-8678-AD5E5240BF15}" sibTransId="{C5ADE18C-356F-4199-84AF-F8C406BE0852}"/>
    <dgm:cxn modelId="{F6891D8A-6816-4B38-A422-FF7401A264DF}" type="presOf" srcId="{2DD46E62-36FA-415D-AB3F-DC923CCB6BBB}" destId="{7BA21780-1FAC-4367-B907-FEF18D038307}" srcOrd="0" destOrd="0" presId="urn:microsoft.com/office/officeart/2005/8/layout/vList5"/>
    <dgm:cxn modelId="{4BAD6409-63FE-45C5-804B-2311260019F6}" type="presOf" srcId="{ACA58C29-1FB7-46BD-8FCD-C059814EA806}" destId="{1706579A-5649-46BA-B4EB-E6BA60D69482}" srcOrd="0" destOrd="0" presId="urn:microsoft.com/office/officeart/2005/8/layout/vList5"/>
    <dgm:cxn modelId="{7BBA660B-E255-4E02-BB12-F164784C0268}" type="presOf" srcId="{D7DA8A9C-B74A-4C3A-AD78-6C36C357F04B}" destId="{83748B15-655A-499E-AE97-5681E3B432E2}" srcOrd="0" destOrd="0" presId="urn:microsoft.com/office/officeart/2005/8/layout/vList5"/>
    <dgm:cxn modelId="{7AAC5B19-C650-438C-9AE5-C976E78E8735}" srcId="{A54DDDDA-3C9C-48DC-A011-7E209E457466}" destId="{A9B7BAB3-EFFF-4420-ACB5-2F6AB46F5EBE}" srcOrd="0" destOrd="0" parTransId="{091A892F-7103-46C5-AECE-6C5222CC6027}" sibTransId="{C691F441-16E7-4764-BF7D-E13528760940}"/>
    <dgm:cxn modelId="{CB185C86-E066-43C5-B6B4-E17592D5E352}" srcId="{2DD46E62-36FA-415D-AB3F-DC923CCB6BBB}" destId="{C59B5488-2D93-4C22-8058-E349A1CCBAA3}" srcOrd="0" destOrd="0" parTransId="{C5E57140-27C0-4D24-B0B4-DCF4EB4DC5C9}" sibTransId="{11E16311-BA95-4D5F-B050-57A2833E534D}"/>
    <dgm:cxn modelId="{C67CDFF5-BB78-4CD1-A0FC-62D90A5F2EC4}" type="presOf" srcId="{1FFAF8E6-81AE-43CC-BB55-56CF149A3C1F}" destId="{86BD4A42-F110-4F93-9863-FA1DE4747C8E}" srcOrd="0" destOrd="0" presId="urn:microsoft.com/office/officeart/2005/8/layout/vList5"/>
    <dgm:cxn modelId="{62DD207A-3D32-4B52-A127-C7133DF29C61}" type="presOf" srcId="{24814EB0-FA86-45AF-851A-1E06165B55C8}" destId="{560A84CE-650C-460A-B970-47E98E295324}" srcOrd="0" destOrd="1" presId="urn:microsoft.com/office/officeart/2005/8/layout/vList5"/>
    <dgm:cxn modelId="{C4644E44-8A5C-4272-A97C-B95DB0640626}" srcId="{2DD46E62-36FA-415D-AB3F-DC923CCB6BBB}" destId="{03B852C4-C2E7-469F-8F18-0D9800C10733}" srcOrd="1" destOrd="0" parTransId="{81503B8A-AF6C-47D6-B5ED-1F5B6F70AA23}" sibTransId="{CB4CF7BF-7F49-44DF-A499-D2787B022D62}"/>
    <dgm:cxn modelId="{F94E4975-A2A5-48C0-AD46-02C29BFD0A6E}" srcId="{49722152-7DF3-4B5C-A4ED-E2797BB15759}" destId="{5F11CA8E-58EA-491E-9769-CC65A8626AF0}" srcOrd="1" destOrd="0" parTransId="{1848B2F5-B53F-4A6D-8754-6822421300C6}" sibTransId="{92C711C8-D714-422F-B2E5-82A6DB2617F1}"/>
    <dgm:cxn modelId="{79A795B0-CB56-44CD-9241-1C33AE0EC82A}" srcId="{ACA58C29-1FB7-46BD-8FCD-C059814EA806}" destId="{A54DDDDA-3C9C-48DC-A011-7E209E457466}" srcOrd="1" destOrd="0" parTransId="{1ED98A9F-5F0D-496D-A850-903776F44C8F}" sibTransId="{D05C25E6-9EFE-4102-9080-E79BD7BB8625}"/>
    <dgm:cxn modelId="{6B90B529-8CE6-4F6D-9FBF-71C0649E49F1}" type="presOf" srcId="{A54DDDDA-3C9C-48DC-A011-7E209E457466}" destId="{9CE3A155-4E42-49E9-BF57-D3B064BA681F}" srcOrd="0" destOrd="0" presId="urn:microsoft.com/office/officeart/2005/8/layout/vList5"/>
    <dgm:cxn modelId="{DB8FED9E-0F61-4FFC-AAE3-4E9A03157F89}" srcId="{ACA58C29-1FB7-46BD-8FCD-C059814EA806}" destId="{2DD46E62-36FA-415D-AB3F-DC923CCB6BBB}" srcOrd="2" destOrd="0" parTransId="{7B94C471-2CE8-4CCE-85CB-6532ADEBD913}" sibTransId="{0F2F6F4D-5A67-4CF4-8ABD-46D678809D2C}"/>
    <dgm:cxn modelId="{46295C05-0142-4EA1-AEF8-EB2DBE4C7E84}" srcId="{49722152-7DF3-4B5C-A4ED-E2797BB15759}" destId="{816C9E9B-1C83-4085-9B81-9440D8708E7D}" srcOrd="0" destOrd="0" parTransId="{6FA7771E-B259-4C30-A8CA-61B8A63BF73F}" sibTransId="{C8DA13AD-69BE-46DF-A97B-99AD0D4EF025}"/>
    <dgm:cxn modelId="{2C2AA669-077B-4717-8FCB-D33C7090A214}" srcId="{1FFAF8E6-81AE-43CC-BB55-56CF149A3C1F}" destId="{DBF2953D-3321-4AE3-8312-148775A1E8C6}" srcOrd="0" destOrd="0" parTransId="{72C02E3C-BD86-4237-83EC-EBE428E1E068}" sibTransId="{CE235E87-FCF0-4DFE-BC65-130A2300920F}"/>
    <dgm:cxn modelId="{ACD22352-3B72-497E-8EFB-0ABF3774CFED}" type="presOf" srcId="{C59B5488-2D93-4C22-8058-E349A1CCBAA3}" destId="{C373A146-BA82-4B1B-A21A-D833FD5DE1D4}" srcOrd="0" destOrd="0" presId="urn:microsoft.com/office/officeart/2005/8/layout/vList5"/>
    <dgm:cxn modelId="{9875DFBC-1D9F-4F06-B0DC-D0BBA88956BE}" type="presOf" srcId="{816C9E9B-1C83-4085-9B81-9440D8708E7D}" destId="{7081E6C7-07E7-4844-B563-AAB771FB1B67}" srcOrd="0" destOrd="0" presId="urn:microsoft.com/office/officeart/2005/8/layout/vList5"/>
    <dgm:cxn modelId="{10893967-DFFC-4E48-9675-848592E30BE6}" type="presOf" srcId="{A6D7B0E6-696C-4E48-BAF6-3F555EAADD73}" destId="{2EF373FA-6663-41F2-8AD5-3B97D8CFCE65}" srcOrd="0" destOrd="0" presId="urn:microsoft.com/office/officeart/2005/8/layout/vList5"/>
    <dgm:cxn modelId="{815D95EA-629B-4594-A8E9-2569E6DF4EED}" srcId="{A54DDDDA-3C9C-48DC-A011-7E209E457466}" destId="{07260B8B-CB90-4AA2-B100-137F687FDA00}" srcOrd="1" destOrd="0" parTransId="{29D90068-85CC-4A74-A0ED-7F27D0E1D0F0}" sibTransId="{AC44C685-434A-4B2A-BFE8-E35C96A9F250}"/>
    <dgm:cxn modelId="{4F73896A-4EC4-47C6-A188-AD2985DC5A89}" type="presOf" srcId="{03B852C4-C2E7-469F-8F18-0D9800C10733}" destId="{C373A146-BA82-4B1B-A21A-D833FD5DE1D4}" srcOrd="0" destOrd="1" presId="urn:microsoft.com/office/officeart/2005/8/layout/vList5"/>
    <dgm:cxn modelId="{C81FE406-0B28-4E3A-B38B-69C5C8DAA50F}" type="presOf" srcId="{A9B7BAB3-EFFF-4420-ACB5-2F6AB46F5EBE}" destId="{514860EF-17B3-4B1D-A546-DDD9AF61526D}" srcOrd="0" destOrd="0" presId="urn:microsoft.com/office/officeart/2005/8/layout/vList5"/>
    <dgm:cxn modelId="{F171DB2A-2813-45F4-9863-DF953A82464E}" type="presOf" srcId="{DBF2953D-3321-4AE3-8312-148775A1E8C6}" destId="{560A84CE-650C-460A-B970-47E98E295324}" srcOrd="0" destOrd="0" presId="urn:microsoft.com/office/officeart/2005/8/layout/vList5"/>
    <dgm:cxn modelId="{F748F3D0-166D-466C-9ADC-3AA6EFA2C74C}" srcId="{D7DA8A9C-B74A-4C3A-AD78-6C36C357F04B}" destId="{A6D7B0E6-696C-4E48-BAF6-3F555EAADD73}" srcOrd="0" destOrd="0" parTransId="{C6B19DBB-E21A-42D7-9120-8D1647B485FA}" sibTransId="{3E007CC9-F220-47A3-A82B-1D900E0D396D}"/>
    <dgm:cxn modelId="{C7C5F7F6-012E-4B5F-B2C6-EAACC744F6D5}" srcId="{1FFAF8E6-81AE-43CC-BB55-56CF149A3C1F}" destId="{24814EB0-FA86-45AF-851A-1E06165B55C8}" srcOrd="1" destOrd="0" parTransId="{13F8FF19-5CA2-49A3-AFD2-D1795230A4EC}" sibTransId="{7B7202D7-D798-4B93-A1E0-FE14678760A6}"/>
    <dgm:cxn modelId="{08293F12-DB70-4B66-9CF0-F614DA818022}" type="presParOf" srcId="{1706579A-5649-46BA-B4EB-E6BA60D69482}" destId="{DAA31EEC-5CA6-4410-86D5-6C0A4C791767}" srcOrd="0" destOrd="0" presId="urn:microsoft.com/office/officeart/2005/8/layout/vList5"/>
    <dgm:cxn modelId="{759274C5-4D16-4EEC-8E05-EB976C6AA779}" type="presParOf" srcId="{DAA31EEC-5CA6-4410-86D5-6C0A4C791767}" destId="{83748B15-655A-499E-AE97-5681E3B432E2}" srcOrd="0" destOrd="0" presId="urn:microsoft.com/office/officeart/2005/8/layout/vList5"/>
    <dgm:cxn modelId="{0CB466CC-2D6B-49B6-82C7-2ADE2F524761}" type="presParOf" srcId="{DAA31EEC-5CA6-4410-86D5-6C0A4C791767}" destId="{2EF373FA-6663-41F2-8AD5-3B97D8CFCE65}" srcOrd="1" destOrd="0" presId="urn:microsoft.com/office/officeart/2005/8/layout/vList5"/>
    <dgm:cxn modelId="{ABEB66AE-3848-4BDA-92A9-437E08585F9E}" type="presParOf" srcId="{1706579A-5649-46BA-B4EB-E6BA60D69482}" destId="{9A501643-933B-4B59-BE7E-7BEDD108F369}" srcOrd="1" destOrd="0" presId="urn:microsoft.com/office/officeart/2005/8/layout/vList5"/>
    <dgm:cxn modelId="{1285C9E5-2848-4D07-B29F-8C3DF92E7E36}" type="presParOf" srcId="{1706579A-5649-46BA-B4EB-E6BA60D69482}" destId="{2EE2A421-A4DC-45B5-9961-40526C85ECC0}" srcOrd="2" destOrd="0" presId="urn:microsoft.com/office/officeart/2005/8/layout/vList5"/>
    <dgm:cxn modelId="{92A231FD-3EB1-4D9C-9ED7-34E7670E4EB7}" type="presParOf" srcId="{2EE2A421-A4DC-45B5-9961-40526C85ECC0}" destId="{9CE3A155-4E42-49E9-BF57-D3B064BA681F}" srcOrd="0" destOrd="0" presId="urn:microsoft.com/office/officeart/2005/8/layout/vList5"/>
    <dgm:cxn modelId="{20E5C244-3FC4-494B-AE71-2824CA8943C0}" type="presParOf" srcId="{2EE2A421-A4DC-45B5-9961-40526C85ECC0}" destId="{514860EF-17B3-4B1D-A546-DDD9AF61526D}" srcOrd="1" destOrd="0" presId="urn:microsoft.com/office/officeart/2005/8/layout/vList5"/>
    <dgm:cxn modelId="{EA0D66EC-6D24-46EA-925F-18719CD40CF0}" type="presParOf" srcId="{1706579A-5649-46BA-B4EB-E6BA60D69482}" destId="{FD2F651D-16AD-494F-BD3B-2C1D0B499E3B}" srcOrd="3" destOrd="0" presId="urn:microsoft.com/office/officeart/2005/8/layout/vList5"/>
    <dgm:cxn modelId="{CE465A6D-0C3D-4114-9028-BF64B5F4D630}" type="presParOf" srcId="{1706579A-5649-46BA-B4EB-E6BA60D69482}" destId="{63B50C59-7165-40E7-93B4-16D0693AE947}" srcOrd="4" destOrd="0" presId="urn:microsoft.com/office/officeart/2005/8/layout/vList5"/>
    <dgm:cxn modelId="{4763A7AB-2971-4E15-9D0D-4228A454C32B}" type="presParOf" srcId="{63B50C59-7165-40E7-93B4-16D0693AE947}" destId="{7BA21780-1FAC-4367-B907-FEF18D038307}" srcOrd="0" destOrd="0" presId="urn:microsoft.com/office/officeart/2005/8/layout/vList5"/>
    <dgm:cxn modelId="{5157F4EE-6EFD-4FB1-B221-DD47A43A042A}" type="presParOf" srcId="{63B50C59-7165-40E7-93B4-16D0693AE947}" destId="{C373A146-BA82-4B1B-A21A-D833FD5DE1D4}" srcOrd="1" destOrd="0" presId="urn:microsoft.com/office/officeart/2005/8/layout/vList5"/>
    <dgm:cxn modelId="{88FD3C09-9B05-48EA-A7C1-BDBD7ECEBB36}" type="presParOf" srcId="{1706579A-5649-46BA-B4EB-E6BA60D69482}" destId="{C88199AA-D787-4748-B9C8-0CA7DB801CB5}" srcOrd="5" destOrd="0" presId="urn:microsoft.com/office/officeart/2005/8/layout/vList5"/>
    <dgm:cxn modelId="{3781EFF1-6D2B-4C6A-8DC3-11222D73CF3C}" type="presParOf" srcId="{1706579A-5649-46BA-B4EB-E6BA60D69482}" destId="{3E2CB9AD-3FB9-4A74-9835-E0478AD2F4E9}" srcOrd="6" destOrd="0" presId="urn:microsoft.com/office/officeart/2005/8/layout/vList5"/>
    <dgm:cxn modelId="{878623DC-4B98-4D03-B1AE-AC0B78B9B043}" type="presParOf" srcId="{3E2CB9AD-3FB9-4A74-9835-E0478AD2F4E9}" destId="{5D41022F-723C-46B6-B845-1632F91BE319}" srcOrd="0" destOrd="0" presId="urn:microsoft.com/office/officeart/2005/8/layout/vList5"/>
    <dgm:cxn modelId="{94EA0C84-EBC8-4EE2-A100-12B18DA60765}" type="presParOf" srcId="{3E2CB9AD-3FB9-4A74-9835-E0478AD2F4E9}" destId="{7081E6C7-07E7-4844-B563-AAB771FB1B67}" srcOrd="1" destOrd="0" presId="urn:microsoft.com/office/officeart/2005/8/layout/vList5"/>
    <dgm:cxn modelId="{34724C52-AE6F-4DB6-8C99-553F0E93135D}" type="presParOf" srcId="{1706579A-5649-46BA-B4EB-E6BA60D69482}" destId="{181E8C41-996B-44C1-8813-19AF43737BFF}" srcOrd="7" destOrd="0" presId="urn:microsoft.com/office/officeart/2005/8/layout/vList5"/>
    <dgm:cxn modelId="{8425730E-A195-4675-8687-E0FC0C3689CD}" type="presParOf" srcId="{1706579A-5649-46BA-B4EB-E6BA60D69482}" destId="{9915B8F7-9681-4F5B-B060-41D06FEB5D86}" srcOrd="8" destOrd="0" presId="urn:microsoft.com/office/officeart/2005/8/layout/vList5"/>
    <dgm:cxn modelId="{ACDA5154-854C-4039-BE12-407DF376D542}" type="presParOf" srcId="{9915B8F7-9681-4F5B-B060-41D06FEB5D86}" destId="{86BD4A42-F110-4F93-9863-FA1DE4747C8E}" srcOrd="0" destOrd="0" presId="urn:microsoft.com/office/officeart/2005/8/layout/vList5"/>
    <dgm:cxn modelId="{28609AE4-745E-44F9-A490-DC59F56BF04E}" type="presParOf" srcId="{9915B8F7-9681-4F5B-B060-41D06FEB5D86}" destId="{560A84CE-650C-460A-B970-47E98E29532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Minimum</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r>
            <a:rPr lang="en-US" sz="1800" dirty="0" smtClean="0">
              <a:solidFill>
                <a:schemeClr val="accent1"/>
              </a:solidFill>
            </a:rPr>
            <a:t>Name: </a:t>
          </a:r>
          <a:r>
            <a:rPr lang="en-US" sz="1800" dirty="0" smtClean="0"/>
            <a:t>The name of the project, analysis or application.</a:t>
          </a:r>
          <a:endParaRPr lang="en-GB" sz="18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F27B7F44-1F69-4AA4-878B-5C1A261A8E5F}">
      <dgm:prSet custT="1"/>
      <dgm:spPr/>
      <dgm:t>
        <a:bodyPr/>
        <a:lstStyle/>
        <a:p>
          <a:r>
            <a:rPr lang="en-US" sz="1800" dirty="0" smtClean="0">
              <a:solidFill>
                <a:schemeClr val="accent1"/>
              </a:solidFill>
            </a:rPr>
            <a:t>Description: </a:t>
          </a:r>
          <a:r>
            <a:rPr lang="en-US" sz="1800" dirty="0" smtClean="0"/>
            <a:t>A brief description of of what the code does (not how).</a:t>
          </a:r>
          <a:endParaRPr lang="en-GB" sz="1800" dirty="0" smtClean="0"/>
        </a:p>
      </dgm:t>
    </dgm:pt>
    <dgm:pt modelId="{6109FE57-C43D-4FD9-ADBB-AB8CDFEEA236}" type="parTrans" cxnId="{1B9A898F-BE0E-4A1C-9F69-DCE11D8A4A32}">
      <dgm:prSet/>
      <dgm:spPr/>
      <dgm:t>
        <a:bodyPr/>
        <a:lstStyle/>
        <a:p>
          <a:endParaRPr lang="en-GB"/>
        </a:p>
      </dgm:t>
    </dgm:pt>
    <dgm:pt modelId="{1051B760-AB2C-4019-9014-79445843E29A}" type="sibTrans" cxnId="{1B9A898F-BE0E-4A1C-9F69-DCE11D8A4A32}">
      <dgm:prSet/>
      <dgm:spPr/>
      <dgm:t>
        <a:bodyPr/>
        <a:lstStyle/>
        <a:p>
          <a:endParaRPr lang="en-GB"/>
        </a:p>
      </dgm:t>
    </dgm:pt>
    <dgm:pt modelId="{C9CD25B7-69A5-4C14-930B-56D0581AAE03}">
      <dgm:prSet custT="1"/>
      <dgm:spPr/>
      <dgm:t>
        <a:bodyPr/>
        <a:lstStyle/>
        <a:p>
          <a:r>
            <a:rPr lang="en-US" sz="1800" dirty="0" smtClean="0">
              <a:solidFill>
                <a:schemeClr val="accent1"/>
              </a:solidFill>
            </a:rPr>
            <a:t>Purpose: </a:t>
          </a:r>
          <a:r>
            <a:rPr lang="en-US" sz="1800" dirty="0" smtClean="0"/>
            <a:t>The reason for writing the code.</a:t>
          </a:r>
          <a:endParaRPr lang="en-GB" sz="1800" dirty="0" smtClean="0"/>
        </a:p>
      </dgm:t>
    </dgm:pt>
    <dgm:pt modelId="{00688A4B-FFF5-422A-BA9B-BAF700ADA37E}" type="parTrans" cxnId="{E0B20270-1770-4761-AB5B-596DEB9C9C15}">
      <dgm:prSet/>
      <dgm:spPr/>
      <dgm:t>
        <a:bodyPr/>
        <a:lstStyle/>
        <a:p>
          <a:endParaRPr lang="en-GB"/>
        </a:p>
      </dgm:t>
    </dgm:pt>
    <dgm:pt modelId="{EB9FD61D-619A-4B34-B238-2D4772EB20E2}" type="sibTrans" cxnId="{E0B20270-1770-4761-AB5B-596DEB9C9C15}">
      <dgm:prSet/>
      <dgm:spPr/>
      <dgm:t>
        <a:bodyPr/>
        <a:lstStyle/>
        <a:p>
          <a:endParaRPr lang="en-GB"/>
        </a:p>
      </dgm:t>
    </dgm:pt>
    <dgm:pt modelId="{2C35FA2A-7DD3-49A9-856D-66EB136C1750}">
      <dgm:prSet custT="1"/>
      <dgm:spPr/>
      <dgm:t>
        <a:bodyPr/>
        <a:lstStyle/>
        <a:p>
          <a:r>
            <a:rPr lang="en-US" sz="1800" dirty="0" smtClean="0">
              <a:solidFill>
                <a:schemeClr val="accent1"/>
              </a:solidFill>
            </a:rPr>
            <a:t>Instructions: </a:t>
          </a:r>
          <a:r>
            <a:rPr lang="en-US" sz="1800" dirty="0" smtClean="0"/>
            <a:t>How to use the code - for the benefit of other users.</a:t>
          </a:r>
          <a:endParaRPr lang="en-GB" sz="1800" dirty="0" smtClean="0"/>
        </a:p>
      </dgm:t>
    </dgm:pt>
    <dgm:pt modelId="{CCA823FF-309E-4AD2-9374-5F1CA2A9CFD5}" type="parTrans" cxnId="{8044D8F9-BE69-4424-9222-DE0A45C14E05}">
      <dgm:prSet/>
      <dgm:spPr/>
      <dgm:t>
        <a:bodyPr/>
        <a:lstStyle/>
        <a:p>
          <a:endParaRPr lang="en-GB"/>
        </a:p>
      </dgm:t>
    </dgm:pt>
    <dgm:pt modelId="{A87B23FC-C080-4F86-A765-08D4B07B9642}" type="sibTrans" cxnId="{8044D8F9-BE69-4424-9222-DE0A45C14E05}">
      <dgm:prSet/>
      <dgm:spPr/>
      <dgm:t>
        <a:bodyPr/>
        <a:lstStyle/>
        <a:p>
          <a:endParaRPr lang="en-GB"/>
        </a:p>
      </dgm:t>
    </dgm:pt>
    <dgm:pt modelId="{0FF57511-BB3F-46A6-8D2B-57C95BDA6BC4}">
      <dgm:prSet phldrT="[Text]" custT="1"/>
      <dgm:spPr>
        <a:solidFill>
          <a:schemeClr val="accent1"/>
        </a:solidFill>
      </dgm:spPr>
      <dgm:t>
        <a:bodyPr/>
        <a:lstStyle/>
        <a:p>
          <a:pPr algn="l"/>
          <a:r>
            <a:rPr lang="en-GB" sz="2800" dirty="0" smtClean="0"/>
            <a:t>High Complexity</a:t>
          </a:r>
          <a:endParaRPr lang="en-GB" sz="2800" dirty="0"/>
        </a:p>
      </dgm:t>
    </dgm:pt>
    <dgm:pt modelId="{D4456DE9-2308-4B22-88DE-F9E1A9109337}" type="parTrans" cxnId="{617772E0-AFD8-4228-BD5C-E791F174DB41}">
      <dgm:prSet/>
      <dgm:spPr/>
      <dgm:t>
        <a:bodyPr/>
        <a:lstStyle/>
        <a:p>
          <a:endParaRPr lang="en-GB"/>
        </a:p>
      </dgm:t>
    </dgm:pt>
    <dgm:pt modelId="{FD89337D-382E-41D1-9AAF-BA1B567640B1}" type="sibTrans" cxnId="{617772E0-AFD8-4228-BD5C-E791F174DB41}">
      <dgm:prSet/>
      <dgm:spPr/>
      <dgm:t>
        <a:bodyPr/>
        <a:lstStyle/>
        <a:p>
          <a:endParaRPr lang="en-GB"/>
        </a:p>
      </dgm:t>
    </dgm:pt>
    <dgm:pt modelId="{F392F6DB-1B43-4D06-83BD-A6A88A61A29E}">
      <dgm:prSet phldrT="[Text]" custT="1"/>
      <dgm:spPr>
        <a:solidFill>
          <a:schemeClr val="bg1">
            <a:alpha val="90000"/>
          </a:schemeClr>
        </a:solidFill>
        <a:ln>
          <a:noFill/>
        </a:ln>
      </dgm:spPr>
      <dgm:t>
        <a:bodyPr/>
        <a:lstStyle/>
        <a:p>
          <a:r>
            <a:rPr lang="en-GB" sz="1800" dirty="0" smtClean="0"/>
            <a:t>Write a separate </a:t>
          </a:r>
          <a:r>
            <a:rPr lang="en-GB" sz="1800" dirty="0" smtClean="0">
              <a:solidFill>
                <a:schemeClr val="accent1"/>
              </a:solidFill>
            </a:rPr>
            <a:t>README</a:t>
          </a:r>
          <a:r>
            <a:rPr lang="en-GB" sz="1800" dirty="0" smtClean="0"/>
            <a:t> file with the above information</a:t>
          </a:r>
          <a:endParaRPr lang="en-GB" sz="1800" dirty="0"/>
        </a:p>
      </dgm:t>
    </dgm:pt>
    <dgm:pt modelId="{BF161629-1636-4982-8D12-F805457960E9}" type="parTrans" cxnId="{0509509D-0A8D-4573-9F12-7AC57F144B51}">
      <dgm:prSet/>
      <dgm:spPr/>
      <dgm:t>
        <a:bodyPr/>
        <a:lstStyle/>
        <a:p>
          <a:endParaRPr lang="en-GB"/>
        </a:p>
      </dgm:t>
    </dgm:pt>
    <dgm:pt modelId="{770A7B33-4CDA-4F04-97BB-1AA4B113EB8B}" type="sibTrans" cxnId="{0509509D-0A8D-4573-9F12-7AC57F144B51}">
      <dgm:prSet/>
      <dgm:spPr/>
      <dgm:t>
        <a:bodyPr/>
        <a:lstStyle/>
        <a:p>
          <a:endParaRPr lang="en-GB"/>
        </a:p>
      </dgm:t>
    </dgm:pt>
    <dgm:pt modelId="{09149E07-D611-450C-A865-74B724688869}">
      <dgm:prSet custT="1"/>
      <dgm:spPr/>
      <dgm:t>
        <a:bodyPr/>
        <a:lstStyle/>
        <a:p>
          <a:r>
            <a:rPr lang="en-GB" sz="1800" dirty="0" smtClean="0">
              <a:solidFill>
                <a:schemeClr val="accent1"/>
              </a:solidFill>
            </a:rPr>
            <a:t>Document each function </a:t>
          </a:r>
          <a:r>
            <a:rPr lang="en-GB" sz="1800" dirty="0" smtClean="0"/>
            <a:t>or section of code separately</a:t>
          </a:r>
        </a:p>
      </dgm:t>
    </dgm:pt>
    <dgm:pt modelId="{39A4B6E9-F006-4D2E-AFD2-0F3832E8EA4C}" type="parTrans" cxnId="{7306FCF4-98C2-431A-999C-00142073DF74}">
      <dgm:prSet/>
      <dgm:spPr/>
      <dgm:t>
        <a:bodyPr/>
        <a:lstStyle/>
        <a:p>
          <a:endParaRPr lang="en-GB"/>
        </a:p>
      </dgm:t>
    </dgm:pt>
    <dgm:pt modelId="{D1AC964B-F4A8-4139-AEE4-FC7C0B661FD2}" type="sibTrans" cxnId="{7306FCF4-98C2-431A-999C-00142073DF74}">
      <dgm:prSet/>
      <dgm:spPr/>
      <dgm:t>
        <a:bodyPr/>
        <a:lstStyle/>
        <a:p>
          <a:endParaRPr lang="en-GB"/>
        </a:p>
      </dgm:t>
    </dgm:pt>
    <dgm:pt modelId="{634686A1-B34C-4F1A-A72C-C47FC5373159}">
      <dgm:prSet phldrT="[Text]" custT="1"/>
      <dgm:spPr>
        <a:solidFill>
          <a:schemeClr val="accent1"/>
        </a:solidFill>
      </dgm:spPr>
      <dgm:t>
        <a:bodyPr/>
        <a:lstStyle/>
        <a:p>
          <a:pPr algn="l"/>
          <a:r>
            <a:rPr lang="en-GB" sz="2800" dirty="0" smtClean="0"/>
            <a:t>High Criticality</a:t>
          </a:r>
          <a:endParaRPr lang="en-GB" sz="2800" dirty="0"/>
        </a:p>
      </dgm:t>
    </dgm:pt>
    <dgm:pt modelId="{876BE6E8-2A4C-400E-9CB9-BBF02FC9495A}" type="parTrans" cxnId="{CDE673EB-12B0-4FE0-98D9-699DD07F0A80}">
      <dgm:prSet/>
      <dgm:spPr/>
      <dgm:t>
        <a:bodyPr/>
        <a:lstStyle/>
        <a:p>
          <a:endParaRPr lang="en-GB"/>
        </a:p>
      </dgm:t>
    </dgm:pt>
    <dgm:pt modelId="{FE147122-0D03-4FAB-B46F-12D82DB7B7EF}" type="sibTrans" cxnId="{CDE673EB-12B0-4FE0-98D9-699DD07F0A80}">
      <dgm:prSet/>
      <dgm:spPr/>
      <dgm:t>
        <a:bodyPr/>
        <a:lstStyle/>
        <a:p>
          <a:endParaRPr lang="en-GB"/>
        </a:p>
      </dgm:t>
    </dgm:pt>
    <dgm:pt modelId="{4614166E-C338-4BBA-B1BE-4B76551B3659}">
      <dgm:prSet phldrT="[Text]" custT="1"/>
      <dgm:spPr>
        <a:solidFill>
          <a:schemeClr val="bg1">
            <a:alpha val="90000"/>
          </a:schemeClr>
        </a:solidFill>
        <a:ln>
          <a:noFill/>
        </a:ln>
      </dgm:spPr>
      <dgm:t>
        <a:bodyPr/>
        <a:lstStyle/>
        <a:p>
          <a:r>
            <a:rPr lang="en-GB" sz="1800" dirty="0" smtClean="0"/>
            <a:t>Create an </a:t>
          </a:r>
          <a:r>
            <a:rPr lang="en-GB" sz="1800" dirty="0" smtClean="0">
              <a:solidFill>
                <a:schemeClr val="accent1"/>
              </a:solidFill>
            </a:rPr>
            <a:t>R package</a:t>
          </a:r>
          <a:endParaRPr lang="en-GB" sz="1800" dirty="0">
            <a:solidFill>
              <a:schemeClr val="accent1"/>
            </a:solidFill>
          </a:endParaRPr>
        </a:p>
      </dgm:t>
    </dgm:pt>
    <dgm:pt modelId="{D0C5E6F3-B9A7-465D-BB3F-F66BB1613035}" type="parTrans" cxnId="{70BEDD73-1694-49A9-AC75-E46680BC0DBD}">
      <dgm:prSet/>
      <dgm:spPr/>
      <dgm:t>
        <a:bodyPr/>
        <a:lstStyle/>
        <a:p>
          <a:endParaRPr lang="en-GB"/>
        </a:p>
      </dgm:t>
    </dgm:pt>
    <dgm:pt modelId="{E6A2DCC2-9947-48A8-A433-0D8A7D13CDE6}" type="sibTrans" cxnId="{70BEDD73-1694-49A9-AC75-E46680BC0DBD}">
      <dgm:prSet/>
      <dgm:spPr/>
      <dgm:t>
        <a:bodyPr/>
        <a:lstStyle/>
        <a:p>
          <a:endParaRPr lang="en-GB"/>
        </a:p>
      </dgm:t>
    </dgm:pt>
    <dgm:pt modelId="{8D6B60DA-F18D-4065-B7CD-E6AC0D482C46}">
      <dgm:prSet custT="1"/>
      <dgm:spPr/>
      <dgm:t>
        <a:bodyPr/>
        <a:lstStyle/>
        <a:p>
          <a:r>
            <a:rPr lang="en-GB" sz="1800" dirty="0" smtClean="0"/>
            <a:t>Provide </a:t>
          </a:r>
          <a:r>
            <a:rPr lang="en-GB" sz="1800" dirty="0" smtClean="0">
              <a:solidFill>
                <a:schemeClr val="accent1"/>
              </a:solidFill>
            </a:rPr>
            <a:t>examples</a:t>
          </a:r>
          <a:r>
            <a:rPr lang="en-GB" sz="1800" dirty="0" smtClean="0"/>
            <a:t> of usage</a:t>
          </a:r>
        </a:p>
      </dgm:t>
    </dgm:pt>
    <dgm:pt modelId="{1415B42D-215A-4110-A716-D4F36AF22F89}" type="parTrans" cxnId="{F627005C-1E90-4189-8040-E11974FD9F4D}">
      <dgm:prSet/>
      <dgm:spPr/>
      <dgm:t>
        <a:bodyPr/>
        <a:lstStyle/>
        <a:p>
          <a:endParaRPr lang="en-GB"/>
        </a:p>
      </dgm:t>
    </dgm:pt>
    <dgm:pt modelId="{8EBB4071-C2D8-48BD-A76A-903F43D155F9}" type="sibTrans" cxnId="{F627005C-1E90-4189-8040-E11974FD9F4D}">
      <dgm:prSet/>
      <dgm:spPr/>
      <dgm:t>
        <a:bodyPr/>
        <a:lstStyle/>
        <a:p>
          <a:endParaRPr lang="en-GB"/>
        </a:p>
      </dgm:t>
    </dgm:pt>
    <dgm:pt modelId="{196438E3-C90B-494B-9987-255C4275500D}">
      <dgm:prSet custT="1"/>
      <dgm:spPr/>
      <dgm:t>
        <a:bodyPr/>
        <a:lstStyle/>
        <a:p>
          <a:r>
            <a:rPr lang="en-GB" sz="1800" dirty="0" smtClean="0"/>
            <a:t>Create a </a:t>
          </a:r>
          <a:r>
            <a:rPr lang="en-GB" sz="1800" dirty="0" smtClean="0">
              <a:solidFill>
                <a:schemeClr val="accent1"/>
              </a:solidFill>
            </a:rPr>
            <a:t>DESCRIPTION</a:t>
          </a:r>
          <a:r>
            <a:rPr lang="en-GB" sz="1800" dirty="0" smtClean="0"/>
            <a:t> file to document the package</a:t>
          </a:r>
        </a:p>
      </dgm:t>
    </dgm:pt>
    <dgm:pt modelId="{BDDC0229-1EA1-4A35-91E9-C60F09F7DAA2}" type="parTrans" cxnId="{F3242A6F-02CE-4DF8-BE5A-065BA805DA97}">
      <dgm:prSet/>
      <dgm:spPr/>
      <dgm:t>
        <a:bodyPr/>
        <a:lstStyle/>
        <a:p>
          <a:endParaRPr lang="en-GB"/>
        </a:p>
      </dgm:t>
    </dgm:pt>
    <dgm:pt modelId="{F536F564-2BC5-45CE-A4CE-7EBEB1ADDBF6}" type="sibTrans" cxnId="{F3242A6F-02CE-4DF8-BE5A-065BA805DA97}">
      <dgm:prSet/>
      <dgm:spPr/>
      <dgm:t>
        <a:bodyPr/>
        <a:lstStyle/>
        <a:p>
          <a:endParaRPr lang="en-GB"/>
        </a:p>
      </dgm:t>
    </dgm:pt>
    <dgm:pt modelId="{729C5436-FB69-483A-9581-F7D42B5A7BCA}">
      <dgm:prSet custT="1"/>
      <dgm:spPr/>
      <dgm:t>
        <a:bodyPr/>
        <a:lstStyle/>
        <a:p>
          <a:r>
            <a:rPr lang="en-GB" sz="1800" dirty="0" smtClean="0"/>
            <a:t>Use </a:t>
          </a:r>
          <a:r>
            <a:rPr lang="en-GB" sz="1800" b="1" dirty="0" smtClean="0">
              <a:solidFill>
                <a:schemeClr val="accent1"/>
              </a:solidFill>
            </a:rPr>
            <a:t>roxygen2</a:t>
          </a:r>
          <a:r>
            <a:rPr lang="en-GB" sz="1800" dirty="0" smtClean="0"/>
            <a:t> to document each function</a:t>
          </a:r>
        </a:p>
      </dgm:t>
    </dgm:pt>
    <dgm:pt modelId="{72A3669A-454F-438D-B02D-DB8AEE78C071}" type="parTrans" cxnId="{A9A87F53-4034-4969-9FFE-87CB04C7DB6E}">
      <dgm:prSet/>
      <dgm:spPr/>
      <dgm:t>
        <a:bodyPr/>
        <a:lstStyle/>
        <a:p>
          <a:endParaRPr lang="en-GB"/>
        </a:p>
      </dgm:t>
    </dgm:pt>
    <dgm:pt modelId="{ECC7F655-36DC-4B20-9258-F52F34D8D2B9}" type="sibTrans" cxnId="{A9A87F53-4034-4969-9FFE-87CB04C7DB6E}">
      <dgm:prSet/>
      <dgm:spPr/>
      <dgm:t>
        <a:bodyPr/>
        <a:lstStyle/>
        <a:p>
          <a:endParaRPr lang="en-GB"/>
        </a:p>
      </dgm:t>
    </dgm:pt>
    <dgm:pt modelId="{E05D305F-F2CF-4650-B637-E33DCC125666}">
      <dgm:prSet custT="1"/>
      <dgm:spPr/>
      <dgm:t>
        <a:bodyPr/>
        <a:lstStyle/>
        <a:p>
          <a:r>
            <a:rPr lang="en-GB" sz="1800" dirty="0" smtClean="0"/>
            <a:t>Write a </a:t>
          </a:r>
          <a:r>
            <a:rPr lang="en-GB" sz="1800" b="1" dirty="0" smtClean="0">
              <a:solidFill>
                <a:schemeClr val="accent1"/>
              </a:solidFill>
            </a:rPr>
            <a:t>vignette </a:t>
          </a:r>
          <a:r>
            <a:rPr lang="en-GB" sz="1800" dirty="0" smtClean="0"/>
            <a:t>explaining its use</a:t>
          </a:r>
        </a:p>
      </dgm:t>
    </dgm:pt>
    <dgm:pt modelId="{3860362B-D6B3-47BC-8A61-547C6BA94529}" type="parTrans" cxnId="{AB787454-53CB-46B6-A1A3-496FD2F05EEE}">
      <dgm:prSet/>
      <dgm:spPr/>
      <dgm:t>
        <a:bodyPr/>
        <a:lstStyle/>
        <a:p>
          <a:endParaRPr lang="en-GB"/>
        </a:p>
      </dgm:t>
    </dgm:pt>
    <dgm:pt modelId="{3DF0C9B4-FEE5-471B-9ECA-7BC2F1A03766}" type="sibTrans" cxnId="{AB787454-53CB-46B6-A1A3-496FD2F05EEE}">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3" custScaleX="82706">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custScaleX="109554">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ADBB9F80-6171-4CA3-87E9-2D802C6794F1}" type="pres">
      <dgm:prSet presAssocID="{0FF57511-BB3F-46A6-8D2B-57C95BDA6BC4}" presName="linNode" presStyleCnt="0"/>
      <dgm:spPr/>
    </dgm:pt>
    <dgm:pt modelId="{26E9E06C-FADB-44D1-A2A9-F661D35ABEE0}" type="pres">
      <dgm:prSet presAssocID="{0FF57511-BB3F-46A6-8D2B-57C95BDA6BC4}" presName="parentText" presStyleLbl="node1" presStyleIdx="1" presStyleCnt="3" custScaleX="82706">
        <dgm:presLayoutVars>
          <dgm:chMax val="1"/>
          <dgm:bulletEnabled val="1"/>
        </dgm:presLayoutVars>
      </dgm:prSet>
      <dgm:spPr>
        <a:prstGeom prst="rect">
          <a:avLst/>
        </a:prstGeom>
      </dgm:spPr>
      <dgm:t>
        <a:bodyPr/>
        <a:lstStyle/>
        <a:p>
          <a:endParaRPr lang="en-GB"/>
        </a:p>
      </dgm:t>
    </dgm:pt>
    <dgm:pt modelId="{2306E7C1-A194-4C64-9722-5BCA80DB670C}" type="pres">
      <dgm:prSet presAssocID="{0FF57511-BB3F-46A6-8D2B-57C95BDA6BC4}" presName="descendantText" presStyleLbl="alignAccFollowNode1" presStyleIdx="1" presStyleCnt="3" custScaleX="109554">
        <dgm:presLayoutVars>
          <dgm:bulletEnabled val="1"/>
        </dgm:presLayoutVars>
      </dgm:prSet>
      <dgm:spPr/>
      <dgm:t>
        <a:bodyPr/>
        <a:lstStyle/>
        <a:p>
          <a:endParaRPr lang="en-GB"/>
        </a:p>
      </dgm:t>
    </dgm:pt>
    <dgm:pt modelId="{4629E710-6296-4438-91B1-08D1BE194335}" type="pres">
      <dgm:prSet presAssocID="{FD89337D-382E-41D1-9AAF-BA1B567640B1}" presName="sp" presStyleCnt="0"/>
      <dgm:spPr/>
    </dgm:pt>
    <dgm:pt modelId="{40848C7B-99DD-4C84-9CC6-09F604622753}" type="pres">
      <dgm:prSet presAssocID="{634686A1-B34C-4F1A-A72C-C47FC5373159}" presName="linNode" presStyleCnt="0"/>
      <dgm:spPr/>
    </dgm:pt>
    <dgm:pt modelId="{69E5A299-B22F-472A-9D93-E2A612D5B234}" type="pres">
      <dgm:prSet presAssocID="{634686A1-B34C-4F1A-A72C-C47FC5373159}" presName="parentText" presStyleLbl="node1" presStyleIdx="2" presStyleCnt="3" custScaleX="82706">
        <dgm:presLayoutVars>
          <dgm:chMax val="1"/>
          <dgm:bulletEnabled val="1"/>
        </dgm:presLayoutVars>
      </dgm:prSet>
      <dgm:spPr>
        <a:prstGeom prst="rect">
          <a:avLst/>
        </a:prstGeom>
      </dgm:spPr>
      <dgm:t>
        <a:bodyPr/>
        <a:lstStyle/>
        <a:p>
          <a:endParaRPr lang="en-GB"/>
        </a:p>
      </dgm:t>
    </dgm:pt>
    <dgm:pt modelId="{0CC7DE73-D248-4981-8FFC-35CBFA79EA23}" type="pres">
      <dgm:prSet presAssocID="{634686A1-B34C-4F1A-A72C-C47FC5373159}" presName="descendantText" presStyleLbl="alignAccFollowNode1" presStyleIdx="2" presStyleCnt="3" custScaleX="109554">
        <dgm:presLayoutVars>
          <dgm:bulletEnabled val="1"/>
        </dgm:presLayoutVars>
      </dgm:prSet>
      <dgm:spPr/>
      <dgm:t>
        <a:bodyPr/>
        <a:lstStyle/>
        <a:p>
          <a:endParaRPr lang="en-GB"/>
        </a:p>
      </dgm:t>
    </dgm:pt>
  </dgm:ptLst>
  <dgm:cxnLst>
    <dgm:cxn modelId="{1B34BF29-E41F-4EA9-A151-97D753404870}" type="presOf" srcId="{196438E3-C90B-494B-9987-255C4275500D}" destId="{0CC7DE73-D248-4981-8FFC-35CBFA79EA23}" srcOrd="0" destOrd="1" presId="urn:microsoft.com/office/officeart/2005/8/layout/vList5"/>
    <dgm:cxn modelId="{4B8546F4-B69F-4DFD-AE6E-E7E2F9C135ED}" type="presOf" srcId="{E05D305F-F2CF-4650-B637-E33DCC125666}" destId="{0CC7DE73-D248-4981-8FFC-35CBFA79EA23}" srcOrd="0" destOrd="3" presId="urn:microsoft.com/office/officeart/2005/8/layout/vList5"/>
    <dgm:cxn modelId="{618B7593-C8F6-4167-B80B-8E59E767BFA5}" srcId="{ACA58C29-1FB7-46BD-8FCD-C059814EA806}" destId="{D7DA8A9C-B74A-4C3A-AD78-6C36C357F04B}" srcOrd="0" destOrd="0" parTransId="{7E72F7B3-C3B2-47EE-B0D3-775ED62011A8}" sibTransId="{D26CB386-EADB-46DD-A810-3B5E065B544B}"/>
    <dgm:cxn modelId="{DF3DBE31-7AFC-4991-A8D9-C59D6B0F859D}" type="presOf" srcId="{ACA58C29-1FB7-46BD-8FCD-C059814EA806}" destId="{1706579A-5649-46BA-B4EB-E6BA60D69482}" srcOrd="0" destOrd="0" presId="urn:microsoft.com/office/officeart/2005/8/layout/vList5"/>
    <dgm:cxn modelId="{941EED9E-24D0-46DF-8798-294B19BB7D58}" type="presOf" srcId="{F27B7F44-1F69-4AA4-878B-5C1A261A8E5F}" destId="{2EF373FA-6663-41F2-8AD5-3B97D8CFCE65}" srcOrd="0" destOrd="1" presId="urn:microsoft.com/office/officeart/2005/8/layout/vList5"/>
    <dgm:cxn modelId="{DA537296-A3D3-4D71-8D3D-7D5921C3F434}" type="presOf" srcId="{2C35FA2A-7DD3-49A9-856D-66EB136C1750}" destId="{2EF373FA-6663-41F2-8AD5-3B97D8CFCE65}" srcOrd="0" destOrd="3" presId="urn:microsoft.com/office/officeart/2005/8/layout/vList5"/>
    <dgm:cxn modelId="{E0B20270-1770-4761-AB5B-596DEB9C9C15}" srcId="{D7DA8A9C-B74A-4C3A-AD78-6C36C357F04B}" destId="{C9CD25B7-69A5-4C14-930B-56D0581AAE03}" srcOrd="2" destOrd="0" parTransId="{00688A4B-FFF5-422A-BA9B-BAF700ADA37E}" sibTransId="{EB9FD61D-619A-4B34-B238-2D4772EB20E2}"/>
    <dgm:cxn modelId="{109A326B-C91F-48C0-8DC5-38DCA4D0A2BF}" type="presOf" srcId="{C9CD25B7-69A5-4C14-930B-56D0581AAE03}" destId="{2EF373FA-6663-41F2-8AD5-3B97D8CFCE65}" srcOrd="0" destOrd="2" presId="urn:microsoft.com/office/officeart/2005/8/layout/vList5"/>
    <dgm:cxn modelId="{F3242A6F-02CE-4DF8-BE5A-065BA805DA97}" srcId="{634686A1-B34C-4F1A-A72C-C47FC5373159}" destId="{196438E3-C90B-494B-9987-255C4275500D}" srcOrd="1" destOrd="0" parTransId="{BDDC0229-1EA1-4A35-91E9-C60F09F7DAA2}" sibTransId="{F536F564-2BC5-45CE-A4CE-7EBEB1ADDBF6}"/>
    <dgm:cxn modelId="{8044D8F9-BE69-4424-9222-DE0A45C14E05}" srcId="{D7DA8A9C-B74A-4C3A-AD78-6C36C357F04B}" destId="{2C35FA2A-7DD3-49A9-856D-66EB136C1750}" srcOrd="3" destOrd="0" parTransId="{CCA823FF-309E-4AD2-9374-5F1CA2A9CFD5}" sibTransId="{A87B23FC-C080-4F86-A765-08D4B07B9642}"/>
    <dgm:cxn modelId="{70BEDD73-1694-49A9-AC75-E46680BC0DBD}" srcId="{634686A1-B34C-4F1A-A72C-C47FC5373159}" destId="{4614166E-C338-4BBA-B1BE-4B76551B3659}" srcOrd="0" destOrd="0" parTransId="{D0C5E6F3-B9A7-465D-BB3F-F66BB1613035}" sibTransId="{E6A2DCC2-9947-48A8-A433-0D8A7D13CDE6}"/>
    <dgm:cxn modelId="{7306FCF4-98C2-431A-999C-00142073DF74}" srcId="{0FF57511-BB3F-46A6-8D2B-57C95BDA6BC4}" destId="{09149E07-D611-450C-A865-74B724688869}" srcOrd="1" destOrd="0" parTransId="{39A4B6E9-F006-4D2E-AFD2-0F3832E8EA4C}" sibTransId="{D1AC964B-F4A8-4139-AEE4-FC7C0B661FD2}"/>
    <dgm:cxn modelId="{14852604-8AD5-4538-8093-BBA8476C10BB}" type="presOf" srcId="{09149E07-D611-450C-A865-74B724688869}" destId="{2306E7C1-A194-4C64-9722-5BCA80DB670C}" srcOrd="0" destOrd="1" presId="urn:microsoft.com/office/officeart/2005/8/layout/vList5"/>
    <dgm:cxn modelId="{F748F3D0-166D-466C-9ADC-3AA6EFA2C74C}" srcId="{D7DA8A9C-B74A-4C3A-AD78-6C36C357F04B}" destId="{A6D7B0E6-696C-4E48-BAF6-3F555EAADD73}" srcOrd="0" destOrd="0" parTransId="{C6B19DBB-E21A-42D7-9120-8D1647B485FA}" sibTransId="{3E007CC9-F220-47A3-A82B-1D900E0D396D}"/>
    <dgm:cxn modelId="{AEC9F738-D443-4D5E-AB84-A7CE24D105EC}" type="presOf" srcId="{4614166E-C338-4BBA-B1BE-4B76551B3659}" destId="{0CC7DE73-D248-4981-8FFC-35CBFA79EA23}" srcOrd="0" destOrd="0" presId="urn:microsoft.com/office/officeart/2005/8/layout/vList5"/>
    <dgm:cxn modelId="{789F9628-7DB8-43D5-BDE8-40BD1F796096}" type="presOf" srcId="{F392F6DB-1B43-4D06-83BD-A6A88A61A29E}" destId="{2306E7C1-A194-4C64-9722-5BCA80DB670C}" srcOrd="0" destOrd="0" presId="urn:microsoft.com/office/officeart/2005/8/layout/vList5"/>
    <dgm:cxn modelId="{A9A87F53-4034-4969-9FFE-87CB04C7DB6E}" srcId="{634686A1-B34C-4F1A-A72C-C47FC5373159}" destId="{729C5436-FB69-483A-9581-F7D42B5A7BCA}" srcOrd="2" destOrd="0" parTransId="{72A3669A-454F-438D-B02D-DB8AEE78C071}" sibTransId="{ECC7F655-36DC-4B20-9258-F52F34D8D2B9}"/>
    <dgm:cxn modelId="{7BA16B39-967E-41D2-897E-2878221D7465}" type="presOf" srcId="{A6D7B0E6-696C-4E48-BAF6-3F555EAADD73}" destId="{2EF373FA-6663-41F2-8AD5-3B97D8CFCE65}" srcOrd="0" destOrd="0" presId="urn:microsoft.com/office/officeart/2005/8/layout/vList5"/>
    <dgm:cxn modelId="{9624A1F3-4840-41F8-9A16-C49D4D379350}" type="presOf" srcId="{8D6B60DA-F18D-4065-B7CD-E6AC0D482C46}" destId="{2306E7C1-A194-4C64-9722-5BCA80DB670C}" srcOrd="0" destOrd="2" presId="urn:microsoft.com/office/officeart/2005/8/layout/vList5"/>
    <dgm:cxn modelId="{AB787454-53CB-46B6-A1A3-496FD2F05EEE}" srcId="{634686A1-B34C-4F1A-A72C-C47FC5373159}" destId="{E05D305F-F2CF-4650-B637-E33DCC125666}" srcOrd="3" destOrd="0" parTransId="{3860362B-D6B3-47BC-8A61-547C6BA94529}" sibTransId="{3DF0C9B4-FEE5-471B-9ECA-7BC2F1A03766}"/>
    <dgm:cxn modelId="{0509509D-0A8D-4573-9F12-7AC57F144B51}" srcId="{0FF57511-BB3F-46A6-8D2B-57C95BDA6BC4}" destId="{F392F6DB-1B43-4D06-83BD-A6A88A61A29E}" srcOrd="0" destOrd="0" parTransId="{BF161629-1636-4982-8D12-F805457960E9}" sibTransId="{770A7B33-4CDA-4F04-97BB-1AA4B113EB8B}"/>
    <dgm:cxn modelId="{00207D55-6BEE-4020-8D01-B1EC15DCCFBB}" type="presOf" srcId="{634686A1-B34C-4F1A-A72C-C47FC5373159}" destId="{69E5A299-B22F-472A-9D93-E2A612D5B234}" srcOrd="0" destOrd="0" presId="urn:microsoft.com/office/officeart/2005/8/layout/vList5"/>
    <dgm:cxn modelId="{617772E0-AFD8-4228-BD5C-E791F174DB41}" srcId="{ACA58C29-1FB7-46BD-8FCD-C059814EA806}" destId="{0FF57511-BB3F-46A6-8D2B-57C95BDA6BC4}" srcOrd="1" destOrd="0" parTransId="{D4456DE9-2308-4B22-88DE-F9E1A9109337}" sibTransId="{FD89337D-382E-41D1-9AAF-BA1B567640B1}"/>
    <dgm:cxn modelId="{FA208C44-2752-4275-B34A-B9F5B09993BF}" type="presOf" srcId="{0FF57511-BB3F-46A6-8D2B-57C95BDA6BC4}" destId="{26E9E06C-FADB-44D1-A2A9-F661D35ABEE0}" srcOrd="0" destOrd="0" presId="urn:microsoft.com/office/officeart/2005/8/layout/vList5"/>
    <dgm:cxn modelId="{CDE673EB-12B0-4FE0-98D9-699DD07F0A80}" srcId="{ACA58C29-1FB7-46BD-8FCD-C059814EA806}" destId="{634686A1-B34C-4F1A-A72C-C47FC5373159}" srcOrd="2" destOrd="0" parTransId="{876BE6E8-2A4C-400E-9CB9-BBF02FC9495A}" sibTransId="{FE147122-0D03-4FAB-B46F-12D82DB7B7EF}"/>
    <dgm:cxn modelId="{F627005C-1E90-4189-8040-E11974FD9F4D}" srcId="{0FF57511-BB3F-46A6-8D2B-57C95BDA6BC4}" destId="{8D6B60DA-F18D-4065-B7CD-E6AC0D482C46}" srcOrd="2" destOrd="0" parTransId="{1415B42D-215A-4110-A716-D4F36AF22F89}" sibTransId="{8EBB4071-C2D8-48BD-A76A-903F43D155F9}"/>
    <dgm:cxn modelId="{D4F34DD5-82FF-456B-BF1B-A619A9E3B169}" type="presOf" srcId="{D7DA8A9C-B74A-4C3A-AD78-6C36C357F04B}" destId="{83748B15-655A-499E-AE97-5681E3B432E2}" srcOrd="0" destOrd="0" presId="urn:microsoft.com/office/officeart/2005/8/layout/vList5"/>
    <dgm:cxn modelId="{1B9A898F-BE0E-4A1C-9F69-DCE11D8A4A32}" srcId="{D7DA8A9C-B74A-4C3A-AD78-6C36C357F04B}" destId="{F27B7F44-1F69-4AA4-878B-5C1A261A8E5F}" srcOrd="1" destOrd="0" parTransId="{6109FE57-C43D-4FD9-ADBB-AB8CDFEEA236}" sibTransId="{1051B760-AB2C-4019-9014-79445843E29A}"/>
    <dgm:cxn modelId="{1B36D64C-B707-46BA-9B48-FFC89BA24C82}" type="presOf" srcId="{729C5436-FB69-483A-9581-F7D42B5A7BCA}" destId="{0CC7DE73-D248-4981-8FFC-35CBFA79EA23}" srcOrd="0" destOrd="2" presId="urn:microsoft.com/office/officeart/2005/8/layout/vList5"/>
    <dgm:cxn modelId="{3A00C54F-BA6E-45A0-8DA5-AE58A0A1C75F}" type="presParOf" srcId="{1706579A-5649-46BA-B4EB-E6BA60D69482}" destId="{DAA31EEC-5CA6-4410-86D5-6C0A4C791767}" srcOrd="0" destOrd="0" presId="urn:microsoft.com/office/officeart/2005/8/layout/vList5"/>
    <dgm:cxn modelId="{E13A5A6B-F010-4B1C-B988-A40D9AEBB746}" type="presParOf" srcId="{DAA31EEC-5CA6-4410-86D5-6C0A4C791767}" destId="{83748B15-655A-499E-AE97-5681E3B432E2}" srcOrd="0" destOrd="0" presId="urn:microsoft.com/office/officeart/2005/8/layout/vList5"/>
    <dgm:cxn modelId="{3E1861BE-2655-41CD-A81D-2F38B9A97D4C}" type="presParOf" srcId="{DAA31EEC-5CA6-4410-86D5-6C0A4C791767}" destId="{2EF373FA-6663-41F2-8AD5-3B97D8CFCE65}" srcOrd="1" destOrd="0" presId="urn:microsoft.com/office/officeart/2005/8/layout/vList5"/>
    <dgm:cxn modelId="{B8F641F3-1B67-4386-9C4D-CF3460B696B3}" type="presParOf" srcId="{1706579A-5649-46BA-B4EB-E6BA60D69482}" destId="{9A501643-933B-4B59-BE7E-7BEDD108F369}" srcOrd="1" destOrd="0" presId="urn:microsoft.com/office/officeart/2005/8/layout/vList5"/>
    <dgm:cxn modelId="{FE552B02-F667-4CAF-87F8-F9E8BE54F6EF}" type="presParOf" srcId="{1706579A-5649-46BA-B4EB-E6BA60D69482}" destId="{ADBB9F80-6171-4CA3-87E9-2D802C6794F1}" srcOrd="2" destOrd="0" presId="urn:microsoft.com/office/officeart/2005/8/layout/vList5"/>
    <dgm:cxn modelId="{7975EDCB-A912-44DD-9AD8-413DA5A2CB0B}" type="presParOf" srcId="{ADBB9F80-6171-4CA3-87E9-2D802C6794F1}" destId="{26E9E06C-FADB-44D1-A2A9-F661D35ABEE0}" srcOrd="0" destOrd="0" presId="urn:microsoft.com/office/officeart/2005/8/layout/vList5"/>
    <dgm:cxn modelId="{9CAA38B1-46C3-4F8D-ABC1-6979AA9F992D}" type="presParOf" srcId="{ADBB9F80-6171-4CA3-87E9-2D802C6794F1}" destId="{2306E7C1-A194-4C64-9722-5BCA80DB670C}" srcOrd="1" destOrd="0" presId="urn:microsoft.com/office/officeart/2005/8/layout/vList5"/>
    <dgm:cxn modelId="{7B708E51-B78A-490A-B2F9-E9120BCE81B9}" type="presParOf" srcId="{1706579A-5649-46BA-B4EB-E6BA60D69482}" destId="{4629E710-6296-4438-91B1-08D1BE194335}" srcOrd="3" destOrd="0" presId="urn:microsoft.com/office/officeart/2005/8/layout/vList5"/>
    <dgm:cxn modelId="{279A40ED-7D82-4DB7-A423-A5147A7AD762}" type="presParOf" srcId="{1706579A-5649-46BA-B4EB-E6BA60D69482}" destId="{40848C7B-99DD-4C84-9CC6-09F604622753}" srcOrd="4" destOrd="0" presId="urn:microsoft.com/office/officeart/2005/8/layout/vList5"/>
    <dgm:cxn modelId="{77CF506E-B72C-45B7-8E0A-990C1F22DA7A}" type="presParOf" srcId="{40848C7B-99DD-4C84-9CC6-09F604622753}" destId="{69E5A299-B22F-472A-9D93-E2A612D5B234}" srcOrd="0" destOrd="0" presId="urn:microsoft.com/office/officeart/2005/8/layout/vList5"/>
    <dgm:cxn modelId="{129F92E0-A39A-4E04-BADF-D70B1C3C18F0}" type="presParOf" srcId="{40848C7B-99DD-4C84-9CC6-09F604622753}" destId="{0CC7DE73-D248-4981-8FFC-35CBFA79EA2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Minimum</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r>
            <a:rPr lang="en-GB" sz="1800" dirty="0" smtClean="0"/>
            <a:t>Manual test should be performed recording the process and results</a:t>
          </a:r>
          <a:endParaRPr lang="en-GB" sz="18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0FF57511-BB3F-46A6-8D2B-57C95BDA6BC4}">
      <dgm:prSet phldrT="[Text]" custT="1"/>
      <dgm:spPr>
        <a:solidFill>
          <a:schemeClr val="accent1"/>
        </a:solidFill>
      </dgm:spPr>
      <dgm:t>
        <a:bodyPr/>
        <a:lstStyle/>
        <a:p>
          <a:pPr algn="l"/>
          <a:r>
            <a:rPr lang="en-GB" sz="2800" dirty="0" smtClean="0"/>
            <a:t>High Complexity</a:t>
          </a:r>
          <a:endParaRPr lang="en-GB" sz="2800" dirty="0"/>
        </a:p>
      </dgm:t>
    </dgm:pt>
    <dgm:pt modelId="{D4456DE9-2308-4B22-88DE-F9E1A9109337}" type="parTrans" cxnId="{617772E0-AFD8-4228-BD5C-E791F174DB41}">
      <dgm:prSet/>
      <dgm:spPr/>
      <dgm:t>
        <a:bodyPr/>
        <a:lstStyle/>
        <a:p>
          <a:endParaRPr lang="en-GB"/>
        </a:p>
      </dgm:t>
    </dgm:pt>
    <dgm:pt modelId="{FD89337D-382E-41D1-9AAF-BA1B567640B1}" type="sibTrans" cxnId="{617772E0-AFD8-4228-BD5C-E791F174DB41}">
      <dgm:prSet/>
      <dgm:spPr/>
      <dgm:t>
        <a:bodyPr/>
        <a:lstStyle/>
        <a:p>
          <a:endParaRPr lang="en-GB"/>
        </a:p>
      </dgm:t>
    </dgm:pt>
    <dgm:pt modelId="{F392F6DB-1B43-4D06-83BD-A6A88A61A29E}">
      <dgm:prSet phldrT="[Text]" custT="1"/>
      <dgm:spPr>
        <a:solidFill>
          <a:schemeClr val="bg1">
            <a:alpha val="90000"/>
          </a:schemeClr>
        </a:solidFill>
        <a:ln>
          <a:noFill/>
        </a:ln>
      </dgm:spPr>
      <dgm:t>
        <a:bodyPr/>
        <a:lstStyle/>
        <a:p>
          <a:r>
            <a:rPr lang="en-US" sz="1800" b="0" i="0" dirty="0" smtClean="0"/>
            <a:t>Separate tests for each section/function of code.</a:t>
          </a:r>
          <a:endParaRPr lang="en-GB" sz="1800" dirty="0"/>
        </a:p>
      </dgm:t>
    </dgm:pt>
    <dgm:pt modelId="{BF161629-1636-4982-8D12-F805457960E9}" type="parTrans" cxnId="{0509509D-0A8D-4573-9F12-7AC57F144B51}">
      <dgm:prSet/>
      <dgm:spPr/>
      <dgm:t>
        <a:bodyPr/>
        <a:lstStyle/>
        <a:p>
          <a:endParaRPr lang="en-GB"/>
        </a:p>
      </dgm:t>
    </dgm:pt>
    <dgm:pt modelId="{770A7B33-4CDA-4F04-97BB-1AA4B113EB8B}" type="sibTrans" cxnId="{0509509D-0A8D-4573-9F12-7AC57F144B51}">
      <dgm:prSet/>
      <dgm:spPr/>
      <dgm:t>
        <a:bodyPr/>
        <a:lstStyle/>
        <a:p>
          <a:endParaRPr lang="en-GB"/>
        </a:p>
      </dgm:t>
    </dgm:pt>
    <dgm:pt modelId="{634686A1-B34C-4F1A-A72C-C47FC5373159}">
      <dgm:prSet phldrT="[Text]" custT="1"/>
      <dgm:spPr>
        <a:solidFill>
          <a:schemeClr val="accent1"/>
        </a:solidFill>
      </dgm:spPr>
      <dgm:t>
        <a:bodyPr/>
        <a:lstStyle/>
        <a:p>
          <a:pPr algn="l"/>
          <a:r>
            <a:rPr lang="en-GB" sz="2800" dirty="0" smtClean="0"/>
            <a:t>High Criticality</a:t>
          </a:r>
          <a:endParaRPr lang="en-GB" sz="2800" dirty="0"/>
        </a:p>
      </dgm:t>
    </dgm:pt>
    <dgm:pt modelId="{876BE6E8-2A4C-400E-9CB9-BBF02FC9495A}" type="parTrans" cxnId="{CDE673EB-12B0-4FE0-98D9-699DD07F0A80}">
      <dgm:prSet/>
      <dgm:spPr/>
      <dgm:t>
        <a:bodyPr/>
        <a:lstStyle/>
        <a:p>
          <a:endParaRPr lang="en-GB"/>
        </a:p>
      </dgm:t>
    </dgm:pt>
    <dgm:pt modelId="{FE147122-0D03-4FAB-B46F-12D82DB7B7EF}" type="sibTrans" cxnId="{CDE673EB-12B0-4FE0-98D9-699DD07F0A80}">
      <dgm:prSet/>
      <dgm:spPr/>
      <dgm:t>
        <a:bodyPr/>
        <a:lstStyle/>
        <a:p>
          <a:endParaRPr lang="en-GB"/>
        </a:p>
      </dgm:t>
    </dgm:pt>
    <dgm:pt modelId="{4614166E-C338-4BBA-B1BE-4B76551B3659}">
      <dgm:prSet phldrT="[Text]" custT="1"/>
      <dgm:spPr>
        <a:solidFill>
          <a:schemeClr val="bg1">
            <a:alpha val="90000"/>
          </a:schemeClr>
        </a:solidFill>
        <a:ln>
          <a:noFill/>
        </a:ln>
      </dgm:spPr>
      <dgm:t>
        <a:bodyPr/>
        <a:lstStyle/>
        <a:p>
          <a:r>
            <a:rPr lang="en-US" sz="1800" b="0" i="0" dirty="0" smtClean="0"/>
            <a:t>Use the package</a:t>
          </a:r>
          <a:r>
            <a:rPr lang="en-US" sz="1800" b="0" i="0" dirty="0" smtClean="0">
              <a:solidFill>
                <a:schemeClr val="accent1"/>
              </a:solidFill>
            </a:rPr>
            <a:t> </a:t>
          </a:r>
          <a:r>
            <a:rPr lang="en-US" sz="1800" b="0" i="0" dirty="0" err="1" smtClean="0">
              <a:solidFill>
                <a:schemeClr val="accent1"/>
              </a:solidFill>
            </a:rPr>
            <a:t>testthat</a:t>
          </a:r>
          <a:r>
            <a:rPr lang="en-US" sz="1800" b="0" i="0" dirty="0" smtClean="0">
              <a:solidFill>
                <a:schemeClr val="accent1"/>
              </a:solidFill>
            </a:rPr>
            <a:t> </a:t>
          </a:r>
          <a:r>
            <a:rPr lang="en-US" sz="1800" b="0" i="0" dirty="0" smtClean="0"/>
            <a:t>to write executable tests.</a:t>
          </a:r>
          <a:endParaRPr lang="en-GB" sz="1800" dirty="0">
            <a:solidFill>
              <a:schemeClr val="accent1"/>
            </a:solidFill>
          </a:endParaRPr>
        </a:p>
      </dgm:t>
    </dgm:pt>
    <dgm:pt modelId="{D0C5E6F3-B9A7-465D-BB3F-F66BB1613035}" type="parTrans" cxnId="{70BEDD73-1694-49A9-AC75-E46680BC0DBD}">
      <dgm:prSet/>
      <dgm:spPr/>
      <dgm:t>
        <a:bodyPr/>
        <a:lstStyle/>
        <a:p>
          <a:endParaRPr lang="en-GB"/>
        </a:p>
      </dgm:t>
    </dgm:pt>
    <dgm:pt modelId="{E6A2DCC2-9947-48A8-A433-0D8A7D13CDE6}" type="sibTrans" cxnId="{70BEDD73-1694-49A9-AC75-E46680BC0DBD}">
      <dgm:prSet/>
      <dgm:spPr/>
      <dgm:t>
        <a:bodyPr/>
        <a:lstStyle/>
        <a:p>
          <a:endParaRPr lang="en-GB"/>
        </a:p>
      </dgm:t>
    </dgm:pt>
    <dgm:pt modelId="{D553CFE4-996E-4094-BBF3-A56146C9873F}">
      <dgm:prSet phldrT="[Text]" custT="1"/>
      <dgm:spPr>
        <a:solidFill>
          <a:schemeClr val="bg1">
            <a:alpha val="90000"/>
          </a:schemeClr>
        </a:solidFill>
        <a:ln>
          <a:noFill/>
        </a:ln>
      </dgm:spPr>
      <dgm:t>
        <a:bodyPr/>
        <a:lstStyle/>
        <a:p>
          <a:r>
            <a:rPr lang="en-GB" sz="1800" dirty="0" smtClean="0"/>
            <a:t>Add assertions to ensure reasonableness</a:t>
          </a:r>
          <a:endParaRPr lang="en-GB" sz="1800" dirty="0"/>
        </a:p>
      </dgm:t>
    </dgm:pt>
    <dgm:pt modelId="{104A8D40-9CCF-4517-A48E-917B590084F3}" type="parTrans" cxnId="{0E2DECAF-56CC-47BC-AEC9-47F66CBEB820}">
      <dgm:prSet/>
      <dgm:spPr/>
      <dgm:t>
        <a:bodyPr/>
        <a:lstStyle/>
        <a:p>
          <a:endParaRPr lang="en-GB"/>
        </a:p>
      </dgm:t>
    </dgm:pt>
    <dgm:pt modelId="{8662BD16-F182-47C4-8EFD-624DD9B8EA87}" type="sibTrans" cxnId="{0E2DECAF-56CC-47BC-AEC9-47F66CBEB820}">
      <dgm:prSet/>
      <dgm:spPr/>
      <dgm:t>
        <a:bodyPr/>
        <a:lstStyle/>
        <a:p>
          <a:endParaRPr lang="en-GB"/>
        </a:p>
      </dgm:t>
    </dgm:pt>
    <dgm:pt modelId="{ECED792D-43E7-44E6-874D-6549B3A49941}">
      <dgm:prSet phldrT="[Text]" custT="1"/>
      <dgm:spPr>
        <a:solidFill>
          <a:schemeClr val="bg1">
            <a:alpha val="90000"/>
          </a:schemeClr>
        </a:solidFill>
        <a:ln>
          <a:noFill/>
        </a:ln>
      </dgm:spPr>
      <dgm:t>
        <a:bodyPr/>
        <a:lstStyle/>
        <a:p>
          <a:r>
            <a:rPr lang="en-GB" sz="1800" dirty="0" smtClean="0"/>
            <a:t>Comparisons with known results</a:t>
          </a:r>
          <a:endParaRPr lang="en-GB" sz="1800" dirty="0"/>
        </a:p>
      </dgm:t>
    </dgm:pt>
    <dgm:pt modelId="{CE53C81F-D164-4B34-B42B-74313B9AD214}" type="parTrans" cxnId="{D9E6622A-6ED5-4EC0-B4A4-A63295CD773C}">
      <dgm:prSet/>
      <dgm:spPr/>
      <dgm:t>
        <a:bodyPr/>
        <a:lstStyle/>
        <a:p>
          <a:endParaRPr lang="en-GB"/>
        </a:p>
      </dgm:t>
    </dgm:pt>
    <dgm:pt modelId="{BE1D256C-0B0F-4E32-8741-867D83823E3A}" type="sibTrans" cxnId="{D9E6622A-6ED5-4EC0-B4A4-A63295CD773C}">
      <dgm:prSet/>
      <dgm:spPr/>
      <dgm:t>
        <a:bodyPr/>
        <a:lstStyle/>
        <a:p>
          <a:endParaRPr lang="en-GB"/>
        </a:p>
      </dgm:t>
    </dgm:pt>
    <dgm:pt modelId="{55A5E0D4-7AB8-4EA9-9064-366C79F2E69E}">
      <dgm:prSet custT="1"/>
      <dgm:spPr/>
      <dgm:t>
        <a:bodyPr/>
        <a:lstStyle/>
        <a:p>
          <a:r>
            <a:rPr lang="en-US" sz="1800" b="0" i="0" dirty="0" smtClean="0"/>
            <a:t>Comparisons with simple inputs and expected results</a:t>
          </a:r>
          <a:endParaRPr lang="en-US" sz="1800" b="0" i="0" dirty="0"/>
        </a:p>
      </dgm:t>
    </dgm:pt>
    <dgm:pt modelId="{332FB67F-441E-4AC2-986A-1DBCDE303CB1}" type="parTrans" cxnId="{BB25F7DB-F5AD-402E-84AE-C52BB388C80F}">
      <dgm:prSet/>
      <dgm:spPr/>
      <dgm:t>
        <a:bodyPr/>
        <a:lstStyle/>
        <a:p>
          <a:endParaRPr lang="en-GB"/>
        </a:p>
      </dgm:t>
    </dgm:pt>
    <dgm:pt modelId="{7072BCF1-2C25-4EEC-87DB-66CB2DFB30ED}" type="sibTrans" cxnId="{BB25F7DB-F5AD-402E-84AE-C52BB388C80F}">
      <dgm:prSet/>
      <dgm:spPr/>
      <dgm:t>
        <a:bodyPr/>
        <a:lstStyle/>
        <a:p>
          <a:endParaRPr lang="en-GB"/>
        </a:p>
      </dgm:t>
    </dgm:pt>
    <dgm:pt modelId="{F9D4B70A-0A7B-4BE3-8BDA-3EFAC9B6D548}">
      <dgm:prSet custT="1"/>
      <dgm:spPr/>
      <dgm:t>
        <a:bodyPr/>
        <a:lstStyle/>
        <a:p>
          <a:r>
            <a:rPr lang="en-US" sz="1800" b="0" i="0" dirty="0" smtClean="0"/>
            <a:t>Execute regression tests whenever changes are made.</a:t>
          </a:r>
          <a:endParaRPr lang="en-US" sz="1800" b="0" i="0" dirty="0"/>
        </a:p>
      </dgm:t>
    </dgm:pt>
    <dgm:pt modelId="{CD15E2E1-F63D-44E7-8F33-D3F579084A9F}" type="parTrans" cxnId="{BA13004C-40CA-4855-B0FB-846F5558D3D0}">
      <dgm:prSet/>
      <dgm:spPr/>
      <dgm:t>
        <a:bodyPr/>
        <a:lstStyle/>
        <a:p>
          <a:endParaRPr lang="en-GB"/>
        </a:p>
      </dgm:t>
    </dgm:pt>
    <dgm:pt modelId="{8DD2EECA-0EB7-4E55-B44A-27C3A92ADA97}" type="sibTrans" cxnId="{BA13004C-40CA-4855-B0FB-846F5558D3D0}">
      <dgm:prSet/>
      <dgm:spPr/>
      <dgm:t>
        <a:bodyPr/>
        <a:lstStyle/>
        <a:p>
          <a:endParaRPr lang="en-GB"/>
        </a:p>
      </dgm:t>
    </dgm:pt>
    <dgm:pt modelId="{A9BF13BF-6045-4B8F-AA77-D454FC028D04}">
      <dgm:prSet custT="1"/>
      <dgm:spPr/>
      <dgm:t>
        <a:bodyPr/>
        <a:lstStyle/>
        <a:p>
          <a:r>
            <a:rPr lang="en-US" sz="1800" b="0" i="0" dirty="0" smtClean="0"/>
            <a:t>Perform integration tests with dependent systems.</a:t>
          </a:r>
          <a:endParaRPr lang="en-US" sz="1800" b="0" i="0" dirty="0"/>
        </a:p>
      </dgm:t>
    </dgm:pt>
    <dgm:pt modelId="{BB3BC0C9-AFC3-4A49-AE6C-F2EE7D7A2525}" type="parTrans" cxnId="{3574E9DB-CC20-4C47-B596-660513E32D57}">
      <dgm:prSet/>
      <dgm:spPr/>
      <dgm:t>
        <a:bodyPr/>
        <a:lstStyle/>
        <a:p>
          <a:endParaRPr lang="en-GB"/>
        </a:p>
      </dgm:t>
    </dgm:pt>
    <dgm:pt modelId="{E26155C3-A3A6-46A1-8057-4A892F08DABE}" type="sibTrans" cxnId="{3574E9DB-CC20-4C47-B596-660513E32D57}">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3" custScaleX="82706">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custScaleX="109554">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ADBB9F80-6171-4CA3-87E9-2D802C6794F1}" type="pres">
      <dgm:prSet presAssocID="{0FF57511-BB3F-46A6-8D2B-57C95BDA6BC4}" presName="linNode" presStyleCnt="0"/>
      <dgm:spPr/>
    </dgm:pt>
    <dgm:pt modelId="{26E9E06C-FADB-44D1-A2A9-F661D35ABEE0}" type="pres">
      <dgm:prSet presAssocID="{0FF57511-BB3F-46A6-8D2B-57C95BDA6BC4}" presName="parentText" presStyleLbl="node1" presStyleIdx="1" presStyleCnt="3" custScaleX="82706">
        <dgm:presLayoutVars>
          <dgm:chMax val="1"/>
          <dgm:bulletEnabled val="1"/>
        </dgm:presLayoutVars>
      </dgm:prSet>
      <dgm:spPr>
        <a:prstGeom prst="rect">
          <a:avLst/>
        </a:prstGeom>
      </dgm:spPr>
      <dgm:t>
        <a:bodyPr/>
        <a:lstStyle/>
        <a:p>
          <a:endParaRPr lang="en-GB"/>
        </a:p>
      </dgm:t>
    </dgm:pt>
    <dgm:pt modelId="{2306E7C1-A194-4C64-9722-5BCA80DB670C}" type="pres">
      <dgm:prSet presAssocID="{0FF57511-BB3F-46A6-8D2B-57C95BDA6BC4}" presName="descendantText" presStyleLbl="alignAccFollowNode1" presStyleIdx="1" presStyleCnt="3" custScaleX="109554">
        <dgm:presLayoutVars>
          <dgm:bulletEnabled val="1"/>
        </dgm:presLayoutVars>
      </dgm:prSet>
      <dgm:spPr/>
      <dgm:t>
        <a:bodyPr/>
        <a:lstStyle/>
        <a:p>
          <a:endParaRPr lang="en-GB"/>
        </a:p>
      </dgm:t>
    </dgm:pt>
    <dgm:pt modelId="{4629E710-6296-4438-91B1-08D1BE194335}" type="pres">
      <dgm:prSet presAssocID="{FD89337D-382E-41D1-9AAF-BA1B567640B1}" presName="sp" presStyleCnt="0"/>
      <dgm:spPr/>
    </dgm:pt>
    <dgm:pt modelId="{40848C7B-99DD-4C84-9CC6-09F604622753}" type="pres">
      <dgm:prSet presAssocID="{634686A1-B34C-4F1A-A72C-C47FC5373159}" presName="linNode" presStyleCnt="0"/>
      <dgm:spPr/>
    </dgm:pt>
    <dgm:pt modelId="{69E5A299-B22F-472A-9D93-E2A612D5B234}" type="pres">
      <dgm:prSet presAssocID="{634686A1-B34C-4F1A-A72C-C47FC5373159}" presName="parentText" presStyleLbl="node1" presStyleIdx="2" presStyleCnt="3" custScaleX="82706">
        <dgm:presLayoutVars>
          <dgm:chMax val="1"/>
          <dgm:bulletEnabled val="1"/>
        </dgm:presLayoutVars>
      </dgm:prSet>
      <dgm:spPr>
        <a:prstGeom prst="rect">
          <a:avLst/>
        </a:prstGeom>
      </dgm:spPr>
      <dgm:t>
        <a:bodyPr/>
        <a:lstStyle/>
        <a:p>
          <a:endParaRPr lang="en-GB"/>
        </a:p>
      </dgm:t>
    </dgm:pt>
    <dgm:pt modelId="{0CC7DE73-D248-4981-8FFC-35CBFA79EA23}" type="pres">
      <dgm:prSet presAssocID="{634686A1-B34C-4F1A-A72C-C47FC5373159}" presName="descendantText" presStyleLbl="alignAccFollowNode1" presStyleIdx="2" presStyleCnt="3" custScaleX="109554">
        <dgm:presLayoutVars>
          <dgm:bulletEnabled val="1"/>
        </dgm:presLayoutVars>
      </dgm:prSet>
      <dgm:spPr/>
      <dgm:t>
        <a:bodyPr/>
        <a:lstStyle/>
        <a:p>
          <a:endParaRPr lang="en-GB"/>
        </a:p>
      </dgm:t>
    </dgm:pt>
  </dgm:ptLst>
  <dgm:cxnLst>
    <dgm:cxn modelId="{D1A8996A-63CA-4CCF-9013-D8B2A0E4151A}" type="presOf" srcId="{A9BF13BF-6045-4B8F-AA77-D454FC028D04}" destId="{0CC7DE73-D248-4981-8FFC-35CBFA79EA23}" srcOrd="0" destOrd="2" presId="urn:microsoft.com/office/officeart/2005/8/layout/vList5"/>
    <dgm:cxn modelId="{1ED5852D-E7D7-4A5E-9513-17E6687F681A}" type="presOf" srcId="{ACA58C29-1FB7-46BD-8FCD-C059814EA806}" destId="{1706579A-5649-46BA-B4EB-E6BA60D69482}" srcOrd="0" destOrd="0" presId="urn:microsoft.com/office/officeart/2005/8/layout/vList5"/>
    <dgm:cxn modelId="{B27FA88D-6EC2-4F8A-9C1C-218A39668805}" type="presOf" srcId="{0FF57511-BB3F-46A6-8D2B-57C95BDA6BC4}" destId="{26E9E06C-FADB-44D1-A2A9-F661D35ABEE0}" srcOrd="0" destOrd="0" presId="urn:microsoft.com/office/officeart/2005/8/layout/vList5"/>
    <dgm:cxn modelId="{3574E9DB-CC20-4C47-B596-660513E32D57}" srcId="{634686A1-B34C-4F1A-A72C-C47FC5373159}" destId="{A9BF13BF-6045-4B8F-AA77-D454FC028D04}" srcOrd="2" destOrd="0" parTransId="{BB3BC0C9-AFC3-4A49-AE6C-F2EE7D7A2525}" sibTransId="{E26155C3-A3A6-46A1-8057-4A892F08DABE}"/>
    <dgm:cxn modelId="{2B9FD437-E6B4-4796-A3AE-CEC59653A82F}" type="presOf" srcId="{A6D7B0E6-696C-4E48-BAF6-3F555EAADD73}" destId="{2EF373FA-6663-41F2-8AD5-3B97D8CFCE65}" srcOrd="0" destOrd="0" presId="urn:microsoft.com/office/officeart/2005/8/layout/vList5"/>
    <dgm:cxn modelId="{70BEDD73-1694-49A9-AC75-E46680BC0DBD}" srcId="{634686A1-B34C-4F1A-A72C-C47FC5373159}" destId="{4614166E-C338-4BBA-B1BE-4B76551B3659}" srcOrd="0" destOrd="0" parTransId="{D0C5E6F3-B9A7-465D-BB3F-F66BB1613035}" sibTransId="{E6A2DCC2-9947-48A8-A433-0D8A7D13CDE6}"/>
    <dgm:cxn modelId="{BB25F7DB-F5AD-402E-84AE-C52BB388C80F}" srcId="{0FF57511-BB3F-46A6-8D2B-57C95BDA6BC4}" destId="{55A5E0D4-7AB8-4EA9-9064-366C79F2E69E}" srcOrd="1" destOrd="0" parTransId="{332FB67F-441E-4AC2-986A-1DBCDE303CB1}" sibTransId="{7072BCF1-2C25-4EEC-87DB-66CB2DFB30ED}"/>
    <dgm:cxn modelId="{F748F3D0-166D-466C-9ADC-3AA6EFA2C74C}" srcId="{D7DA8A9C-B74A-4C3A-AD78-6C36C357F04B}" destId="{A6D7B0E6-696C-4E48-BAF6-3F555EAADD73}" srcOrd="0" destOrd="0" parTransId="{C6B19DBB-E21A-42D7-9120-8D1647B485FA}" sibTransId="{3E007CC9-F220-47A3-A82B-1D900E0D396D}"/>
    <dgm:cxn modelId="{CDE673EB-12B0-4FE0-98D9-699DD07F0A80}" srcId="{ACA58C29-1FB7-46BD-8FCD-C059814EA806}" destId="{634686A1-B34C-4F1A-A72C-C47FC5373159}" srcOrd="2" destOrd="0" parTransId="{876BE6E8-2A4C-400E-9CB9-BBF02FC9495A}" sibTransId="{FE147122-0D03-4FAB-B46F-12D82DB7B7EF}"/>
    <dgm:cxn modelId="{898D7A14-4B94-4624-97E5-E99DDD1A4232}" type="presOf" srcId="{F9D4B70A-0A7B-4BE3-8BDA-3EFAC9B6D548}" destId="{0CC7DE73-D248-4981-8FFC-35CBFA79EA23}" srcOrd="0" destOrd="1" presId="urn:microsoft.com/office/officeart/2005/8/layout/vList5"/>
    <dgm:cxn modelId="{D9E6622A-6ED5-4EC0-B4A4-A63295CD773C}" srcId="{D7DA8A9C-B74A-4C3A-AD78-6C36C357F04B}" destId="{ECED792D-43E7-44E6-874D-6549B3A49941}" srcOrd="2" destOrd="0" parTransId="{CE53C81F-D164-4B34-B42B-74313B9AD214}" sibTransId="{BE1D256C-0B0F-4E32-8741-867D83823E3A}"/>
    <dgm:cxn modelId="{EBE0CD53-C17B-49FD-A2E4-E0A062FF2222}" type="presOf" srcId="{D553CFE4-996E-4094-BBF3-A56146C9873F}" destId="{2EF373FA-6663-41F2-8AD5-3B97D8CFCE65}" srcOrd="0" destOrd="1" presId="urn:microsoft.com/office/officeart/2005/8/layout/vList5"/>
    <dgm:cxn modelId="{7463BDA1-6DB1-44DE-9497-872FEFD5224F}" type="presOf" srcId="{4614166E-C338-4BBA-B1BE-4B76551B3659}" destId="{0CC7DE73-D248-4981-8FFC-35CBFA79EA23}" srcOrd="0" destOrd="0" presId="urn:microsoft.com/office/officeart/2005/8/layout/vList5"/>
    <dgm:cxn modelId="{D32A114C-E231-4F66-AD64-E9DBE5180426}" type="presOf" srcId="{D7DA8A9C-B74A-4C3A-AD78-6C36C357F04B}" destId="{83748B15-655A-499E-AE97-5681E3B432E2}" srcOrd="0" destOrd="0" presId="urn:microsoft.com/office/officeart/2005/8/layout/vList5"/>
    <dgm:cxn modelId="{5525C283-F038-4794-9BC8-E52A2D4014D3}" type="presOf" srcId="{55A5E0D4-7AB8-4EA9-9064-366C79F2E69E}" destId="{2306E7C1-A194-4C64-9722-5BCA80DB670C}" srcOrd="0" destOrd="1" presId="urn:microsoft.com/office/officeart/2005/8/layout/vList5"/>
    <dgm:cxn modelId="{49E9BCBA-2000-4A1E-8ECB-5F77EE55862E}" type="presOf" srcId="{634686A1-B34C-4F1A-A72C-C47FC5373159}" destId="{69E5A299-B22F-472A-9D93-E2A612D5B234}" srcOrd="0" destOrd="0" presId="urn:microsoft.com/office/officeart/2005/8/layout/vList5"/>
    <dgm:cxn modelId="{0E2DECAF-56CC-47BC-AEC9-47F66CBEB820}" srcId="{D7DA8A9C-B74A-4C3A-AD78-6C36C357F04B}" destId="{D553CFE4-996E-4094-BBF3-A56146C9873F}" srcOrd="1" destOrd="0" parTransId="{104A8D40-9CCF-4517-A48E-917B590084F3}" sibTransId="{8662BD16-F182-47C4-8EFD-624DD9B8EA87}"/>
    <dgm:cxn modelId="{0509509D-0A8D-4573-9F12-7AC57F144B51}" srcId="{0FF57511-BB3F-46A6-8D2B-57C95BDA6BC4}" destId="{F392F6DB-1B43-4D06-83BD-A6A88A61A29E}" srcOrd="0" destOrd="0" parTransId="{BF161629-1636-4982-8D12-F805457960E9}" sibTransId="{770A7B33-4CDA-4F04-97BB-1AA4B113EB8B}"/>
    <dgm:cxn modelId="{618B7593-C8F6-4167-B80B-8E59E767BFA5}" srcId="{ACA58C29-1FB7-46BD-8FCD-C059814EA806}" destId="{D7DA8A9C-B74A-4C3A-AD78-6C36C357F04B}" srcOrd="0" destOrd="0" parTransId="{7E72F7B3-C3B2-47EE-B0D3-775ED62011A8}" sibTransId="{D26CB386-EADB-46DD-A810-3B5E065B544B}"/>
    <dgm:cxn modelId="{00BD7EDF-4C29-4CEA-B5B8-CDF3FF24F043}" type="presOf" srcId="{F392F6DB-1B43-4D06-83BD-A6A88A61A29E}" destId="{2306E7C1-A194-4C64-9722-5BCA80DB670C}" srcOrd="0" destOrd="0" presId="urn:microsoft.com/office/officeart/2005/8/layout/vList5"/>
    <dgm:cxn modelId="{617772E0-AFD8-4228-BD5C-E791F174DB41}" srcId="{ACA58C29-1FB7-46BD-8FCD-C059814EA806}" destId="{0FF57511-BB3F-46A6-8D2B-57C95BDA6BC4}" srcOrd="1" destOrd="0" parTransId="{D4456DE9-2308-4B22-88DE-F9E1A9109337}" sibTransId="{FD89337D-382E-41D1-9AAF-BA1B567640B1}"/>
    <dgm:cxn modelId="{BA13004C-40CA-4855-B0FB-846F5558D3D0}" srcId="{634686A1-B34C-4F1A-A72C-C47FC5373159}" destId="{F9D4B70A-0A7B-4BE3-8BDA-3EFAC9B6D548}" srcOrd="1" destOrd="0" parTransId="{CD15E2E1-F63D-44E7-8F33-D3F579084A9F}" sibTransId="{8DD2EECA-0EB7-4E55-B44A-27C3A92ADA97}"/>
    <dgm:cxn modelId="{4B104AFC-C85D-45F2-9C4D-DC12ACA20446}" type="presOf" srcId="{ECED792D-43E7-44E6-874D-6549B3A49941}" destId="{2EF373FA-6663-41F2-8AD5-3B97D8CFCE65}" srcOrd="0" destOrd="2" presId="urn:microsoft.com/office/officeart/2005/8/layout/vList5"/>
    <dgm:cxn modelId="{4FB58328-429E-482E-85FA-EA9A231E2E95}" type="presParOf" srcId="{1706579A-5649-46BA-B4EB-E6BA60D69482}" destId="{DAA31EEC-5CA6-4410-86D5-6C0A4C791767}" srcOrd="0" destOrd="0" presId="urn:microsoft.com/office/officeart/2005/8/layout/vList5"/>
    <dgm:cxn modelId="{D202E229-B8F6-49FA-A87F-BF22931AE290}" type="presParOf" srcId="{DAA31EEC-5CA6-4410-86D5-6C0A4C791767}" destId="{83748B15-655A-499E-AE97-5681E3B432E2}" srcOrd="0" destOrd="0" presId="urn:microsoft.com/office/officeart/2005/8/layout/vList5"/>
    <dgm:cxn modelId="{1A183B92-B1C7-4F6B-9FE8-24F9B0367E8C}" type="presParOf" srcId="{DAA31EEC-5CA6-4410-86D5-6C0A4C791767}" destId="{2EF373FA-6663-41F2-8AD5-3B97D8CFCE65}" srcOrd="1" destOrd="0" presId="urn:microsoft.com/office/officeart/2005/8/layout/vList5"/>
    <dgm:cxn modelId="{54470941-C5F1-49DF-A0A7-912B84B44D09}" type="presParOf" srcId="{1706579A-5649-46BA-B4EB-E6BA60D69482}" destId="{9A501643-933B-4B59-BE7E-7BEDD108F369}" srcOrd="1" destOrd="0" presId="urn:microsoft.com/office/officeart/2005/8/layout/vList5"/>
    <dgm:cxn modelId="{6B3B98C4-90A7-44AA-96F8-37AC91186AFD}" type="presParOf" srcId="{1706579A-5649-46BA-B4EB-E6BA60D69482}" destId="{ADBB9F80-6171-4CA3-87E9-2D802C6794F1}" srcOrd="2" destOrd="0" presId="urn:microsoft.com/office/officeart/2005/8/layout/vList5"/>
    <dgm:cxn modelId="{BF7917EA-93BF-4174-BA89-B6857E169FCC}" type="presParOf" srcId="{ADBB9F80-6171-4CA3-87E9-2D802C6794F1}" destId="{26E9E06C-FADB-44D1-A2A9-F661D35ABEE0}" srcOrd="0" destOrd="0" presId="urn:microsoft.com/office/officeart/2005/8/layout/vList5"/>
    <dgm:cxn modelId="{42374911-B33C-43F0-8479-EB9EAFD42947}" type="presParOf" srcId="{ADBB9F80-6171-4CA3-87E9-2D802C6794F1}" destId="{2306E7C1-A194-4C64-9722-5BCA80DB670C}" srcOrd="1" destOrd="0" presId="urn:microsoft.com/office/officeart/2005/8/layout/vList5"/>
    <dgm:cxn modelId="{221A3B86-4F56-4557-9206-95E4CD3146C4}" type="presParOf" srcId="{1706579A-5649-46BA-B4EB-E6BA60D69482}" destId="{4629E710-6296-4438-91B1-08D1BE194335}" srcOrd="3" destOrd="0" presId="urn:microsoft.com/office/officeart/2005/8/layout/vList5"/>
    <dgm:cxn modelId="{326D0932-CE62-46BC-9145-8429C7050D6F}" type="presParOf" srcId="{1706579A-5649-46BA-B4EB-E6BA60D69482}" destId="{40848C7B-99DD-4C84-9CC6-09F604622753}" srcOrd="4" destOrd="0" presId="urn:microsoft.com/office/officeart/2005/8/layout/vList5"/>
    <dgm:cxn modelId="{900EDDF7-BE44-4725-8DF5-F9E265FB777F}" type="presParOf" srcId="{40848C7B-99DD-4C84-9CC6-09F604622753}" destId="{69E5A299-B22F-472A-9D93-E2A612D5B234}" srcOrd="0" destOrd="0" presId="urn:microsoft.com/office/officeart/2005/8/layout/vList5"/>
    <dgm:cxn modelId="{7E92EE3A-3085-4049-8F7C-45770901E3D4}" type="presParOf" srcId="{40848C7B-99DD-4C84-9CC6-09F604622753}" destId="{0CC7DE73-D248-4981-8FFC-35CBFA79EA2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Minimum</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r>
            <a:rPr lang="en-GB" sz="1800" dirty="0" smtClean="0"/>
            <a:t>Clearly define inputs</a:t>
          </a:r>
          <a:endParaRPr lang="en-GB" sz="18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0FF57511-BB3F-46A6-8D2B-57C95BDA6BC4}">
      <dgm:prSet phldrT="[Text]" custT="1"/>
      <dgm:spPr>
        <a:solidFill>
          <a:schemeClr val="accent1"/>
        </a:solidFill>
      </dgm:spPr>
      <dgm:t>
        <a:bodyPr/>
        <a:lstStyle/>
        <a:p>
          <a:pPr algn="l"/>
          <a:r>
            <a:rPr lang="en-GB" sz="2800" dirty="0" smtClean="0"/>
            <a:t>High Complexity</a:t>
          </a:r>
          <a:endParaRPr lang="en-GB" sz="2800" dirty="0"/>
        </a:p>
      </dgm:t>
    </dgm:pt>
    <dgm:pt modelId="{D4456DE9-2308-4B22-88DE-F9E1A9109337}" type="parTrans" cxnId="{617772E0-AFD8-4228-BD5C-E791F174DB41}">
      <dgm:prSet/>
      <dgm:spPr/>
      <dgm:t>
        <a:bodyPr/>
        <a:lstStyle/>
        <a:p>
          <a:endParaRPr lang="en-GB"/>
        </a:p>
      </dgm:t>
    </dgm:pt>
    <dgm:pt modelId="{FD89337D-382E-41D1-9AAF-BA1B567640B1}" type="sibTrans" cxnId="{617772E0-AFD8-4228-BD5C-E791F174DB41}">
      <dgm:prSet/>
      <dgm:spPr/>
      <dgm:t>
        <a:bodyPr/>
        <a:lstStyle/>
        <a:p>
          <a:endParaRPr lang="en-GB"/>
        </a:p>
      </dgm:t>
    </dgm:pt>
    <dgm:pt modelId="{F392F6DB-1B43-4D06-83BD-A6A88A61A29E}">
      <dgm:prSet phldrT="[Text]" custT="1"/>
      <dgm:spPr>
        <a:solidFill>
          <a:schemeClr val="bg1">
            <a:alpha val="90000"/>
          </a:schemeClr>
        </a:solidFill>
        <a:ln>
          <a:noFill/>
        </a:ln>
      </dgm:spPr>
      <dgm:t>
        <a:bodyPr/>
        <a:lstStyle/>
        <a:p>
          <a:r>
            <a:rPr lang="en-GB" sz="1800" dirty="0" smtClean="0"/>
            <a:t>Use </a:t>
          </a:r>
          <a:r>
            <a:rPr lang="en-GB" sz="1800" dirty="0" err="1" smtClean="0"/>
            <a:t>RStudio</a:t>
          </a:r>
          <a:r>
            <a:rPr lang="en-GB" sz="1800" dirty="0" smtClean="0"/>
            <a:t> projects</a:t>
          </a:r>
          <a:endParaRPr lang="en-GB" sz="1800" dirty="0"/>
        </a:p>
      </dgm:t>
    </dgm:pt>
    <dgm:pt modelId="{BF161629-1636-4982-8D12-F805457960E9}" type="parTrans" cxnId="{0509509D-0A8D-4573-9F12-7AC57F144B51}">
      <dgm:prSet/>
      <dgm:spPr/>
      <dgm:t>
        <a:bodyPr/>
        <a:lstStyle/>
        <a:p>
          <a:endParaRPr lang="en-GB"/>
        </a:p>
      </dgm:t>
    </dgm:pt>
    <dgm:pt modelId="{770A7B33-4CDA-4F04-97BB-1AA4B113EB8B}" type="sibTrans" cxnId="{0509509D-0A8D-4573-9F12-7AC57F144B51}">
      <dgm:prSet/>
      <dgm:spPr/>
      <dgm:t>
        <a:bodyPr/>
        <a:lstStyle/>
        <a:p>
          <a:endParaRPr lang="en-GB"/>
        </a:p>
      </dgm:t>
    </dgm:pt>
    <dgm:pt modelId="{634686A1-B34C-4F1A-A72C-C47FC5373159}">
      <dgm:prSet phldrT="[Text]" custT="1"/>
      <dgm:spPr>
        <a:solidFill>
          <a:schemeClr val="accent1"/>
        </a:solidFill>
      </dgm:spPr>
      <dgm:t>
        <a:bodyPr/>
        <a:lstStyle/>
        <a:p>
          <a:pPr algn="l"/>
          <a:r>
            <a:rPr lang="en-GB" sz="2800" dirty="0" smtClean="0"/>
            <a:t>High Criticality</a:t>
          </a:r>
          <a:endParaRPr lang="en-GB" sz="2800" dirty="0"/>
        </a:p>
      </dgm:t>
    </dgm:pt>
    <dgm:pt modelId="{876BE6E8-2A4C-400E-9CB9-BBF02FC9495A}" type="parTrans" cxnId="{CDE673EB-12B0-4FE0-98D9-699DD07F0A80}">
      <dgm:prSet/>
      <dgm:spPr/>
      <dgm:t>
        <a:bodyPr/>
        <a:lstStyle/>
        <a:p>
          <a:endParaRPr lang="en-GB"/>
        </a:p>
      </dgm:t>
    </dgm:pt>
    <dgm:pt modelId="{FE147122-0D03-4FAB-B46F-12D82DB7B7EF}" type="sibTrans" cxnId="{CDE673EB-12B0-4FE0-98D9-699DD07F0A80}">
      <dgm:prSet/>
      <dgm:spPr/>
      <dgm:t>
        <a:bodyPr/>
        <a:lstStyle/>
        <a:p>
          <a:endParaRPr lang="en-GB"/>
        </a:p>
      </dgm:t>
    </dgm:pt>
    <dgm:pt modelId="{4614166E-C338-4BBA-B1BE-4B76551B3659}">
      <dgm:prSet phldrT="[Text]" custT="1"/>
      <dgm:spPr>
        <a:solidFill>
          <a:schemeClr val="bg1">
            <a:alpha val="90000"/>
          </a:schemeClr>
        </a:solidFill>
        <a:ln>
          <a:noFill/>
        </a:ln>
      </dgm:spPr>
      <dgm:t>
        <a:bodyPr/>
        <a:lstStyle/>
        <a:p>
          <a:endParaRPr lang="en-GB" sz="1800" dirty="0">
            <a:solidFill>
              <a:schemeClr val="accent1"/>
            </a:solidFill>
          </a:endParaRPr>
        </a:p>
      </dgm:t>
    </dgm:pt>
    <dgm:pt modelId="{D0C5E6F3-B9A7-465D-BB3F-F66BB1613035}" type="parTrans" cxnId="{70BEDD73-1694-49A9-AC75-E46680BC0DBD}">
      <dgm:prSet/>
      <dgm:spPr/>
      <dgm:t>
        <a:bodyPr/>
        <a:lstStyle/>
        <a:p>
          <a:endParaRPr lang="en-GB"/>
        </a:p>
      </dgm:t>
    </dgm:pt>
    <dgm:pt modelId="{E6A2DCC2-9947-48A8-A433-0D8A7D13CDE6}" type="sibTrans" cxnId="{70BEDD73-1694-49A9-AC75-E46680BC0DBD}">
      <dgm:prSet/>
      <dgm:spPr/>
      <dgm:t>
        <a:bodyPr/>
        <a:lstStyle/>
        <a:p>
          <a:endParaRPr lang="en-GB"/>
        </a:p>
      </dgm:t>
    </dgm:pt>
    <dgm:pt modelId="{A9BF13BF-6045-4B8F-AA77-D454FC028D04}">
      <dgm:prSet custT="1"/>
      <dgm:spPr/>
      <dgm:t>
        <a:bodyPr/>
        <a:lstStyle/>
        <a:p>
          <a:r>
            <a:rPr lang="en-US" sz="1800" b="0" i="0" dirty="0" smtClean="0"/>
            <a:t>Output audit logs with time stamp, username and environment</a:t>
          </a:r>
          <a:endParaRPr lang="en-US" sz="1800" b="0" i="0" dirty="0"/>
        </a:p>
      </dgm:t>
    </dgm:pt>
    <dgm:pt modelId="{BB3BC0C9-AFC3-4A49-AE6C-F2EE7D7A2525}" type="parTrans" cxnId="{3574E9DB-CC20-4C47-B596-660513E32D57}">
      <dgm:prSet/>
      <dgm:spPr/>
      <dgm:t>
        <a:bodyPr/>
        <a:lstStyle/>
        <a:p>
          <a:endParaRPr lang="en-GB"/>
        </a:p>
      </dgm:t>
    </dgm:pt>
    <dgm:pt modelId="{E26155C3-A3A6-46A1-8057-4A892F08DABE}" type="sibTrans" cxnId="{3574E9DB-CC20-4C47-B596-660513E32D57}">
      <dgm:prSet/>
      <dgm:spPr/>
      <dgm:t>
        <a:bodyPr/>
        <a:lstStyle/>
        <a:p>
          <a:endParaRPr lang="en-GB"/>
        </a:p>
      </dgm:t>
    </dgm:pt>
    <dgm:pt modelId="{AE64AE9D-E719-43DB-BFAE-687A87E1AD84}">
      <dgm:prSet phldrT="[Text]" custT="1"/>
      <dgm:spPr>
        <a:solidFill>
          <a:schemeClr val="bg1">
            <a:alpha val="90000"/>
          </a:schemeClr>
        </a:solidFill>
        <a:ln>
          <a:noFill/>
        </a:ln>
      </dgm:spPr>
      <dgm:t>
        <a:bodyPr/>
        <a:lstStyle/>
        <a:p>
          <a:r>
            <a:rPr lang="en-GB" sz="1800" dirty="0" smtClean="0"/>
            <a:t>Declare dependencies explicitly</a:t>
          </a:r>
          <a:endParaRPr lang="en-GB" sz="1800" dirty="0"/>
        </a:p>
      </dgm:t>
    </dgm:pt>
    <dgm:pt modelId="{5472A242-E690-453A-BD50-6F4FEA1ABF40}" type="parTrans" cxnId="{3D9CAF44-B8E3-4280-AD56-16B75D9B8B2B}">
      <dgm:prSet/>
      <dgm:spPr/>
      <dgm:t>
        <a:bodyPr/>
        <a:lstStyle/>
        <a:p>
          <a:endParaRPr lang="en-GB"/>
        </a:p>
      </dgm:t>
    </dgm:pt>
    <dgm:pt modelId="{027DEABA-A79E-48C9-8539-EBA9670393ED}" type="sibTrans" cxnId="{3D9CAF44-B8E3-4280-AD56-16B75D9B8B2B}">
      <dgm:prSet/>
      <dgm:spPr/>
      <dgm:t>
        <a:bodyPr/>
        <a:lstStyle/>
        <a:p>
          <a:endParaRPr lang="en-GB"/>
        </a:p>
      </dgm:t>
    </dgm:pt>
    <dgm:pt modelId="{EA2DBF03-2702-429D-8826-98D3799646E1}">
      <dgm:prSet phldrT="[Text]" custT="1"/>
      <dgm:spPr>
        <a:solidFill>
          <a:schemeClr val="bg1">
            <a:alpha val="90000"/>
          </a:schemeClr>
        </a:solidFill>
        <a:ln>
          <a:noFill/>
        </a:ln>
      </dgm:spPr>
      <dgm:t>
        <a:bodyPr/>
        <a:lstStyle/>
        <a:p>
          <a:r>
            <a:rPr lang="en-GB" sz="1800" dirty="0" smtClean="0"/>
            <a:t>Avoid sourcing external R files</a:t>
          </a:r>
          <a:endParaRPr lang="en-GB" sz="1800" dirty="0"/>
        </a:p>
      </dgm:t>
    </dgm:pt>
    <dgm:pt modelId="{3B55B877-90D7-4BF2-9BE3-611E66BD86C3}" type="parTrans" cxnId="{E3863CF2-18DB-4A87-A711-2DCDCD87FF3A}">
      <dgm:prSet/>
      <dgm:spPr/>
      <dgm:t>
        <a:bodyPr/>
        <a:lstStyle/>
        <a:p>
          <a:endParaRPr lang="en-GB"/>
        </a:p>
      </dgm:t>
    </dgm:pt>
    <dgm:pt modelId="{34E58C6A-7651-4FE0-ABF5-7CB79EB3C0E2}" type="sibTrans" cxnId="{E3863CF2-18DB-4A87-A711-2DCDCD87FF3A}">
      <dgm:prSet/>
      <dgm:spPr/>
      <dgm:t>
        <a:bodyPr/>
        <a:lstStyle/>
        <a:p>
          <a:endParaRPr lang="en-GB"/>
        </a:p>
      </dgm:t>
    </dgm:pt>
    <dgm:pt modelId="{C3F33732-8F9B-4423-9D85-F1351ADA3360}">
      <dgm:prSet phldrT="[Text]" custT="1"/>
      <dgm:spPr>
        <a:solidFill>
          <a:schemeClr val="bg1">
            <a:alpha val="90000"/>
          </a:schemeClr>
        </a:solidFill>
        <a:ln>
          <a:noFill/>
        </a:ln>
      </dgm:spPr>
      <dgm:t>
        <a:bodyPr/>
        <a:lstStyle/>
        <a:p>
          <a:r>
            <a:rPr lang="en-GB" sz="1800" dirty="0" smtClean="0"/>
            <a:t>Have clear project structure</a:t>
          </a:r>
          <a:endParaRPr lang="en-GB" sz="1800" dirty="0"/>
        </a:p>
      </dgm:t>
    </dgm:pt>
    <dgm:pt modelId="{5FCE5D19-C4B6-4A25-9009-21727CB9B47F}" type="parTrans" cxnId="{8297AD2E-E4C4-43AA-BF3A-004CE216B65F}">
      <dgm:prSet/>
      <dgm:spPr/>
      <dgm:t>
        <a:bodyPr/>
        <a:lstStyle/>
        <a:p>
          <a:endParaRPr lang="en-GB"/>
        </a:p>
      </dgm:t>
    </dgm:pt>
    <dgm:pt modelId="{AB5D9EFF-E79E-4F52-9A6A-21E62BE9D563}" type="sibTrans" cxnId="{8297AD2E-E4C4-43AA-BF3A-004CE216B65F}">
      <dgm:prSet/>
      <dgm:spPr/>
      <dgm:t>
        <a:bodyPr/>
        <a:lstStyle/>
        <a:p>
          <a:endParaRPr lang="en-GB"/>
        </a:p>
      </dgm:t>
    </dgm:pt>
    <dgm:pt modelId="{8076D088-C360-4911-9E73-CFB747EAEC6B}">
      <dgm:prSet custT="1"/>
      <dgm:spPr/>
      <dgm:t>
        <a:bodyPr/>
        <a:lstStyle/>
        <a:p>
          <a:endParaRPr lang="en-US" sz="1800" b="0" i="0" dirty="0"/>
        </a:p>
      </dgm:t>
    </dgm:pt>
    <dgm:pt modelId="{E9CFCBE9-C345-45F4-A8D5-31B806AC4371}" type="parTrans" cxnId="{D177272D-8D83-4CD7-8C04-0EE3E077D4DA}">
      <dgm:prSet/>
      <dgm:spPr/>
      <dgm:t>
        <a:bodyPr/>
        <a:lstStyle/>
        <a:p>
          <a:endParaRPr lang="en-GB"/>
        </a:p>
      </dgm:t>
    </dgm:pt>
    <dgm:pt modelId="{116781A6-2AB9-4920-9E4D-917C65DA4983}" type="sibTrans" cxnId="{D177272D-8D83-4CD7-8C04-0EE3E077D4DA}">
      <dgm:prSet/>
      <dgm:spPr/>
      <dgm:t>
        <a:bodyPr/>
        <a:lstStyle/>
        <a:p>
          <a:endParaRPr lang="en-GB"/>
        </a:p>
      </dgm:t>
    </dgm:pt>
    <dgm:pt modelId="{1606D6BB-C3FF-448E-B901-87FA33E622A5}">
      <dgm:prSet custT="1"/>
      <dgm:spPr/>
      <dgm:t>
        <a:bodyPr/>
        <a:lstStyle/>
        <a:p>
          <a:r>
            <a:rPr lang="en-US" sz="1800" b="0" i="0" dirty="0" smtClean="0"/>
            <a:t>Cache inputs in a subfolder</a:t>
          </a:r>
          <a:endParaRPr lang="en-US" sz="1800" b="0" i="0" dirty="0"/>
        </a:p>
      </dgm:t>
    </dgm:pt>
    <dgm:pt modelId="{8F285383-2B82-4572-9F56-0D16DFCD0B43}" type="parTrans" cxnId="{C3A5A2E7-FC70-460C-BA9A-15792C93A4C1}">
      <dgm:prSet/>
      <dgm:spPr/>
      <dgm:t>
        <a:bodyPr/>
        <a:lstStyle/>
        <a:p>
          <a:endParaRPr lang="en-GB"/>
        </a:p>
      </dgm:t>
    </dgm:pt>
    <dgm:pt modelId="{4C48CD73-13BC-4B2E-85A1-04D561095816}" type="sibTrans" cxnId="{C3A5A2E7-FC70-460C-BA9A-15792C93A4C1}">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3" custScaleX="82706">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custScaleX="109554">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ADBB9F80-6171-4CA3-87E9-2D802C6794F1}" type="pres">
      <dgm:prSet presAssocID="{0FF57511-BB3F-46A6-8D2B-57C95BDA6BC4}" presName="linNode" presStyleCnt="0"/>
      <dgm:spPr/>
    </dgm:pt>
    <dgm:pt modelId="{26E9E06C-FADB-44D1-A2A9-F661D35ABEE0}" type="pres">
      <dgm:prSet presAssocID="{0FF57511-BB3F-46A6-8D2B-57C95BDA6BC4}" presName="parentText" presStyleLbl="node1" presStyleIdx="1" presStyleCnt="3" custScaleX="82706">
        <dgm:presLayoutVars>
          <dgm:chMax val="1"/>
          <dgm:bulletEnabled val="1"/>
        </dgm:presLayoutVars>
      </dgm:prSet>
      <dgm:spPr>
        <a:prstGeom prst="rect">
          <a:avLst/>
        </a:prstGeom>
      </dgm:spPr>
      <dgm:t>
        <a:bodyPr/>
        <a:lstStyle/>
        <a:p>
          <a:endParaRPr lang="en-GB"/>
        </a:p>
      </dgm:t>
    </dgm:pt>
    <dgm:pt modelId="{2306E7C1-A194-4C64-9722-5BCA80DB670C}" type="pres">
      <dgm:prSet presAssocID="{0FF57511-BB3F-46A6-8D2B-57C95BDA6BC4}" presName="descendantText" presStyleLbl="alignAccFollowNode1" presStyleIdx="1" presStyleCnt="3" custScaleX="109554">
        <dgm:presLayoutVars>
          <dgm:bulletEnabled val="1"/>
        </dgm:presLayoutVars>
      </dgm:prSet>
      <dgm:spPr/>
      <dgm:t>
        <a:bodyPr/>
        <a:lstStyle/>
        <a:p>
          <a:endParaRPr lang="en-GB"/>
        </a:p>
      </dgm:t>
    </dgm:pt>
    <dgm:pt modelId="{4629E710-6296-4438-91B1-08D1BE194335}" type="pres">
      <dgm:prSet presAssocID="{FD89337D-382E-41D1-9AAF-BA1B567640B1}" presName="sp" presStyleCnt="0"/>
      <dgm:spPr/>
    </dgm:pt>
    <dgm:pt modelId="{40848C7B-99DD-4C84-9CC6-09F604622753}" type="pres">
      <dgm:prSet presAssocID="{634686A1-B34C-4F1A-A72C-C47FC5373159}" presName="linNode" presStyleCnt="0"/>
      <dgm:spPr/>
    </dgm:pt>
    <dgm:pt modelId="{69E5A299-B22F-472A-9D93-E2A612D5B234}" type="pres">
      <dgm:prSet presAssocID="{634686A1-B34C-4F1A-A72C-C47FC5373159}" presName="parentText" presStyleLbl="node1" presStyleIdx="2" presStyleCnt="3" custScaleX="82706">
        <dgm:presLayoutVars>
          <dgm:chMax val="1"/>
          <dgm:bulletEnabled val="1"/>
        </dgm:presLayoutVars>
      </dgm:prSet>
      <dgm:spPr>
        <a:prstGeom prst="rect">
          <a:avLst/>
        </a:prstGeom>
      </dgm:spPr>
      <dgm:t>
        <a:bodyPr/>
        <a:lstStyle/>
        <a:p>
          <a:endParaRPr lang="en-GB"/>
        </a:p>
      </dgm:t>
    </dgm:pt>
    <dgm:pt modelId="{0CC7DE73-D248-4981-8FFC-35CBFA79EA23}" type="pres">
      <dgm:prSet presAssocID="{634686A1-B34C-4F1A-A72C-C47FC5373159}" presName="descendantText" presStyleLbl="alignAccFollowNode1" presStyleIdx="2" presStyleCnt="3" custScaleX="109554">
        <dgm:presLayoutVars>
          <dgm:bulletEnabled val="1"/>
        </dgm:presLayoutVars>
      </dgm:prSet>
      <dgm:spPr/>
      <dgm:t>
        <a:bodyPr/>
        <a:lstStyle/>
        <a:p>
          <a:endParaRPr lang="en-GB"/>
        </a:p>
      </dgm:t>
    </dgm:pt>
  </dgm:ptLst>
  <dgm:cxnLst>
    <dgm:cxn modelId="{E3863CF2-18DB-4A87-A711-2DCDCD87FF3A}" srcId="{D7DA8A9C-B74A-4C3A-AD78-6C36C357F04B}" destId="{EA2DBF03-2702-429D-8826-98D3799646E1}" srcOrd="2" destOrd="0" parTransId="{3B55B877-90D7-4BF2-9BE3-611E66BD86C3}" sibTransId="{34E58C6A-7651-4FE0-ABF5-7CB79EB3C0E2}"/>
    <dgm:cxn modelId="{424E346D-D7A1-4AD8-B5DA-4E0F0D643CA6}" type="presOf" srcId="{0FF57511-BB3F-46A6-8D2B-57C95BDA6BC4}" destId="{26E9E06C-FADB-44D1-A2A9-F661D35ABEE0}" srcOrd="0" destOrd="0" presId="urn:microsoft.com/office/officeart/2005/8/layout/vList5"/>
    <dgm:cxn modelId="{A72714EC-DA6D-4DAE-8F7C-A037F7FD3F49}" type="presOf" srcId="{1606D6BB-C3FF-448E-B901-87FA33E622A5}" destId="{0CC7DE73-D248-4981-8FFC-35CBFA79EA23}" srcOrd="0" destOrd="2" presId="urn:microsoft.com/office/officeart/2005/8/layout/vList5"/>
    <dgm:cxn modelId="{4D863596-23AB-44DF-B0BD-2E0214AFEB34}" type="presOf" srcId="{8076D088-C360-4911-9E73-CFB747EAEC6B}" destId="{0CC7DE73-D248-4981-8FFC-35CBFA79EA23}" srcOrd="0" destOrd="3" presId="urn:microsoft.com/office/officeart/2005/8/layout/vList5"/>
    <dgm:cxn modelId="{3574E9DB-CC20-4C47-B596-660513E32D57}" srcId="{634686A1-B34C-4F1A-A72C-C47FC5373159}" destId="{A9BF13BF-6045-4B8F-AA77-D454FC028D04}" srcOrd="1" destOrd="0" parTransId="{BB3BC0C9-AFC3-4A49-AE6C-F2EE7D7A2525}" sibTransId="{E26155C3-A3A6-46A1-8057-4A892F08DABE}"/>
    <dgm:cxn modelId="{70BEDD73-1694-49A9-AC75-E46680BC0DBD}" srcId="{634686A1-B34C-4F1A-A72C-C47FC5373159}" destId="{4614166E-C338-4BBA-B1BE-4B76551B3659}" srcOrd="0" destOrd="0" parTransId="{D0C5E6F3-B9A7-465D-BB3F-F66BB1613035}" sibTransId="{E6A2DCC2-9947-48A8-A433-0D8A7D13CDE6}"/>
    <dgm:cxn modelId="{6EE51439-0DB7-4D1B-8CA1-FB8A3A8B1AC6}" type="presOf" srcId="{4614166E-C338-4BBA-B1BE-4B76551B3659}" destId="{0CC7DE73-D248-4981-8FFC-35CBFA79EA23}" srcOrd="0" destOrd="0" presId="urn:microsoft.com/office/officeart/2005/8/layout/vList5"/>
    <dgm:cxn modelId="{F748F3D0-166D-466C-9ADC-3AA6EFA2C74C}" srcId="{D7DA8A9C-B74A-4C3A-AD78-6C36C357F04B}" destId="{A6D7B0E6-696C-4E48-BAF6-3F555EAADD73}" srcOrd="0" destOrd="0" parTransId="{C6B19DBB-E21A-42D7-9120-8D1647B485FA}" sibTransId="{3E007CC9-F220-47A3-A82B-1D900E0D396D}"/>
    <dgm:cxn modelId="{6C71CDBD-0BE1-474A-8F23-2B037B0402D8}" type="presOf" srcId="{AE64AE9D-E719-43DB-BFAE-687A87E1AD84}" destId="{2EF373FA-6663-41F2-8AD5-3B97D8CFCE65}" srcOrd="0" destOrd="1" presId="urn:microsoft.com/office/officeart/2005/8/layout/vList5"/>
    <dgm:cxn modelId="{CDE673EB-12B0-4FE0-98D9-699DD07F0A80}" srcId="{ACA58C29-1FB7-46BD-8FCD-C059814EA806}" destId="{634686A1-B34C-4F1A-A72C-C47FC5373159}" srcOrd="2" destOrd="0" parTransId="{876BE6E8-2A4C-400E-9CB9-BBF02FC9495A}" sibTransId="{FE147122-0D03-4FAB-B46F-12D82DB7B7EF}"/>
    <dgm:cxn modelId="{D177272D-8D83-4CD7-8C04-0EE3E077D4DA}" srcId="{634686A1-B34C-4F1A-A72C-C47FC5373159}" destId="{8076D088-C360-4911-9E73-CFB747EAEC6B}" srcOrd="3" destOrd="0" parTransId="{E9CFCBE9-C345-45F4-A8D5-31B806AC4371}" sibTransId="{116781A6-2AB9-4920-9E4D-917C65DA4983}"/>
    <dgm:cxn modelId="{8C4853A0-1DB2-41E7-9711-029384F41F65}" type="presOf" srcId="{634686A1-B34C-4F1A-A72C-C47FC5373159}" destId="{69E5A299-B22F-472A-9D93-E2A612D5B234}" srcOrd="0" destOrd="0" presId="urn:microsoft.com/office/officeart/2005/8/layout/vList5"/>
    <dgm:cxn modelId="{B326A95F-B5F2-489D-A8A6-18F04804E9D5}" type="presOf" srcId="{EA2DBF03-2702-429D-8826-98D3799646E1}" destId="{2EF373FA-6663-41F2-8AD5-3B97D8CFCE65}" srcOrd="0" destOrd="2" presId="urn:microsoft.com/office/officeart/2005/8/layout/vList5"/>
    <dgm:cxn modelId="{3D9CAF44-B8E3-4280-AD56-16B75D9B8B2B}" srcId="{D7DA8A9C-B74A-4C3A-AD78-6C36C357F04B}" destId="{AE64AE9D-E719-43DB-BFAE-687A87E1AD84}" srcOrd="1" destOrd="0" parTransId="{5472A242-E690-453A-BD50-6F4FEA1ABF40}" sibTransId="{027DEABA-A79E-48C9-8539-EBA9670393ED}"/>
    <dgm:cxn modelId="{46F52822-8840-4CF4-AB93-E4EF42C31318}" type="presOf" srcId="{C3F33732-8F9B-4423-9D85-F1351ADA3360}" destId="{2306E7C1-A194-4C64-9722-5BCA80DB670C}" srcOrd="0" destOrd="1" presId="urn:microsoft.com/office/officeart/2005/8/layout/vList5"/>
    <dgm:cxn modelId="{1530D9B9-491B-4C4B-B40A-729307952BA1}" type="presOf" srcId="{A9BF13BF-6045-4B8F-AA77-D454FC028D04}" destId="{0CC7DE73-D248-4981-8FFC-35CBFA79EA23}" srcOrd="0" destOrd="1" presId="urn:microsoft.com/office/officeart/2005/8/layout/vList5"/>
    <dgm:cxn modelId="{0509509D-0A8D-4573-9F12-7AC57F144B51}" srcId="{0FF57511-BB3F-46A6-8D2B-57C95BDA6BC4}" destId="{F392F6DB-1B43-4D06-83BD-A6A88A61A29E}" srcOrd="0" destOrd="0" parTransId="{BF161629-1636-4982-8D12-F805457960E9}" sibTransId="{770A7B33-4CDA-4F04-97BB-1AA4B113EB8B}"/>
    <dgm:cxn modelId="{2EF3289D-3458-49F6-9A2B-D82E49B59F1A}" type="presOf" srcId="{A6D7B0E6-696C-4E48-BAF6-3F555EAADD73}" destId="{2EF373FA-6663-41F2-8AD5-3B97D8CFCE65}" srcOrd="0" destOrd="0" presId="urn:microsoft.com/office/officeart/2005/8/layout/vList5"/>
    <dgm:cxn modelId="{618B7593-C8F6-4167-B80B-8E59E767BFA5}" srcId="{ACA58C29-1FB7-46BD-8FCD-C059814EA806}" destId="{D7DA8A9C-B74A-4C3A-AD78-6C36C357F04B}" srcOrd="0" destOrd="0" parTransId="{7E72F7B3-C3B2-47EE-B0D3-775ED62011A8}" sibTransId="{D26CB386-EADB-46DD-A810-3B5E065B544B}"/>
    <dgm:cxn modelId="{8297AD2E-E4C4-43AA-BF3A-004CE216B65F}" srcId="{0FF57511-BB3F-46A6-8D2B-57C95BDA6BC4}" destId="{C3F33732-8F9B-4423-9D85-F1351ADA3360}" srcOrd="1" destOrd="0" parTransId="{5FCE5D19-C4B6-4A25-9009-21727CB9B47F}" sibTransId="{AB5D9EFF-E79E-4F52-9A6A-21E62BE9D563}"/>
    <dgm:cxn modelId="{C3A5A2E7-FC70-460C-BA9A-15792C93A4C1}" srcId="{634686A1-B34C-4F1A-A72C-C47FC5373159}" destId="{1606D6BB-C3FF-448E-B901-87FA33E622A5}" srcOrd="2" destOrd="0" parTransId="{8F285383-2B82-4572-9F56-0D16DFCD0B43}" sibTransId="{4C48CD73-13BC-4B2E-85A1-04D561095816}"/>
    <dgm:cxn modelId="{617772E0-AFD8-4228-BD5C-E791F174DB41}" srcId="{ACA58C29-1FB7-46BD-8FCD-C059814EA806}" destId="{0FF57511-BB3F-46A6-8D2B-57C95BDA6BC4}" srcOrd="1" destOrd="0" parTransId="{D4456DE9-2308-4B22-88DE-F9E1A9109337}" sibTransId="{FD89337D-382E-41D1-9AAF-BA1B567640B1}"/>
    <dgm:cxn modelId="{6AA70E78-F31F-4CB5-924E-DA6CF73277B4}" type="presOf" srcId="{D7DA8A9C-B74A-4C3A-AD78-6C36C357F04B}" destId="{83748B15-655A-499E-AE97-5681E3B432E2}" srcOrd="0" destOrd="0" presId="urn:microsoft.com/office/officeart/2005/8/layout/vList5"/>
    <dgm:cxn modelId="{4D5EE0D6-63F2-4F6E-A7D9-BEDEE7237066}" type="presOf" srcId="{F392F6DB-1B43-4D06-83BD-A6A88A61A29E}" destId="{2306E7C1-A194-4C64-9722-5BCA80DB670C}" srcOrd="0" destOrd="0" presId="urn:microsoft.com/office/officeart/2005/8/layout/vList5"/>
    <dgm:cxn modelId="{7D5B4CE4-2BE2-411C-9686-ED0B1CD97979}" type="presOf" srcId="{ACA58C29-1FB7-46BD-8FCD-C059814EA806}" destId="{1706579A-5649-46BA-B4EB-E6BA60D69482}" srcOrd="0" destOrd="0" presId="urn:microsoft.com/office/officeart/2005/8/layout/vList5"/>
    <dgm:cxn modelId="{BDA84BFA-A7D4-416E-8114-76B94FB77228}" type="presParOf" srcId="{1706579A-5649-46BA-B4EB-E6BA60D69482}" destId="{DAA31EEC-5CA6-4410-86D5-6C0A4C791767}" srcOrd="0" destOrd="0" presId="urn:microsoft.com/office/officeart/2005/8/layout/vList5"/>
    <dgm:cxn modelId="{E2772138-535C-42B6-84BB-E45078414CFD}" type="presParOf" srcId="{DAA31EEC-5CA6-4410-86D5-6C0A4C791767}" destId="{83748B15-655A-499E-AE97-5681E3B432E2}" srcOrd="0" destOrd="0" presId="urn:microsoft.com/office/officeart/2005/8/layout/vList5"/>
    <dgm:cxn modelId="{6003F8EA-14F4-48EB-A279-B35CA9C36D7A}" type="presParOf" srcId="{DAA31EEC-5CA6-4410-86D5-6C0A4C791767}" destId="{2EF373FA-6663-41F2-8AD5-3B97D8CFCE65}" srcOrd="1" destOrd="0" presId="urn:microsoft.com/office/officeart/2005/8/layout/vList5"/>
    <dgm:cxn modelId="{605A9C82-BB80-4B7C-8743-34ED5A64E848}" type="presParOf" srcId="{1706579A-5649-46BA-B4EB-E6BA60D69482}" destId="{9A501643-933B-4B59-BE7E-7BEDD108F369}" srcOrd="1" destOrd="0" presId="urn:microsoft.com/office/officeart/2005/8/layout/vList5"/>
    <dgm:cxn modelId="{4573631A-8E1D-40FB-875F-1B9693B1C249}" type="presParOf" srcId="{1706579A-5649-46BA-B4EB-E6BA60D69482}" destId="{ADBB9F80-6171-4CA3-87E9-2D802C6794F1}" srcOrd="2" destOrd="0" presId="urn:microsoft.com/office/officeart/2005/8/layout/vList5"/>
    <dgm:cxn modelId="{744712B7-7873-4BD7-866E-6C95A0FA3794}" type="presParOf" srcId="{ADBB9F80-6171-4CA3-87E9-2D802C6794F1}" destId="{26E9E06C-FADB-44D1-A2A9-F661D35ABEE0}" srcOrd="0" destOrd="0" presId="urn:microsoft.com/office/officeart/2005/8/layout/vList5"/>
    <dgm:cxn modelId="{25F45414-3365-47C1-B346-422DE751C785}" type="presParOf" srcId="{ADBB9F80-6171-4CA3-87E9-2D802C6794F1}" destId="{2306E7C1-A194-4C64-9722-5BCA80DB670C}" srcOrd="1" destOrd="0" presId="urn:microsoft.com/office/officeart/2005/8/layout/vList5"/>
    <dgm:cxn modelId="{5842A8E3-2C7B-4A4E-A213-758DC14FCDC5}" type="presParOf" srcId="{1706579A-5649-46BA-B4EB-E6BA60D69482}" destId="{4629E710-6296-4438-91B1-08D1BE194335}" srcOrd="3" destOrd="0" presId="urn:microsoft.com/office/officeart/2005/8/layout/vList5"/>
    <dgm:cxn modelId="{72BBBE6B-BE65-446F-AA1A-34ACEA0233D3}" type="presParOf" srcId="{1706579A-5649-46BA-B4EB-E6BA60D69482}" destId="{40848C7B-99DD-4C84-9CC6-09F604622753}" srcOrd="4" destOrd="0" presId="urn:microsoft.com/office/officeart/2005/8/layout/vList5"/>
    <dgm:cxn modelId="{47FBAC5F-04A4-4B90-90B4-2E3FE788A1D8}" type="presParOf" srcId="{40848C7B-99DD-4C84-9CC6-09F604622753}" destId="{69E5A299-B22F-472A-9D93-E2A612D5B234}" srcOrd="0" destOrd="0" presId="urn:microsoft.com/office/officeart/2005/8/layout/vList5"/>
    <dgm:cxn modelId="{AAFEAF90-5937-4FE7-B542-5D612BE53771}" type="presParOf" srcId="{40848C7B-99DD-4C84-9CC6-09F604622753}" destId="{0CC7DE73-D248-4981-8FFC-35CBFA79EA2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Minimum</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endParaRPr lang="en-GB" sz="18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0FF57511-BB3F-46A6-8D2B-57C95BDA6BC4}">
      <dgm:prSet phldrT="[Text]" custT="1"/>
      <dgm:spPr>
        <a:solidFill>
          <a:schemeClr val="accent1"/>
        </a:solidFill>
      </dgm:spPr>
      <dgm:t>
        <a:bodyPr/>
        <a:lstStyle/>
        <a:p>
          <a:pPr algn="l"/>
          <a:r>
            <a:rPr lang="en-GB" sz="2800" dirty="0" smtClean="0"/>
            <a:t>High Complexity</a:t>
          </a:r>
          <a:endParaRPr lang="en-GB" sz="2800" dirty="0"/>
        </a:p>
      </dgm:t>
    </dgm:pt>
    <dgm:pt modelId="{D4456DE9-2308-4B22-88DE-F9E1A9109337}" type="parTrans" cxnId="{617772E0-AFD8-4228-BD5C-E791F174DB41}">
      <dgm:prSet/>
      <dgm:spPr/>
      <dgm:t>
        <a:bodyPr/>
        <a:lstStyle/>
        <a:p>
          <a:endParaRPr lang="en-GB"/>
        </a:p>
      </dgm:t>
    </dgm:pt>
    <dgm:pt modelId="{FD89337D-382E-41D1-9AAF-BA1B567640B1}" type="sibTrans" cxnId="{617772E0-AFD8-4228-BD5C-E791F174DB41}">
      <dgm:prSet/>
      <dgm:spPr/>
      <dgm:t>
        <a:bodyPr/>
        <a:lstStyle/>
        <a:p>
          <a:endParaRPr lang="en-GB"/>
        </a:p>
      </dgm:t>
    </dgm:pt>
    <dgm:pt modelId="{F392F6DB-1B43-4D06-83BD-A6A88A61A29E}">
      <dgm:prSet phldrT="[Text]" custT="1"/>
      <dgm:spPr>
        <a:solidFill>
          <a:schemeClr val="bg1">
            <a:alpha val="90000"/>
          </a:schemeClr>
        </a:solidFill>
        <a:ln>
          <a:noFill/>
        </a:ln>
      </dgm:spPr>
      <dgm:t>
        <a:bodyPr/>
        <a:lstStyle/>
        <a:p>
          <a:endParaRPr lang="en-GB" sz="1800" dirty="0"/>
        </a:p>
      </dgm:t>
    </dgm:pt>
    <dgm:pt modelId="{BF161629-1636-4982-8D12-F805457960E9}" type="parTrans" cxnId="{0509509D-0A8D-4573-9F12-7AC57F144B51}">
      <dgm:prSet/>
      <dgm:spPr/>
      <dgm:t>
        <a:bodyPr/>
        <a:lstStyle/>
        <a:p>
          <a:endParaRPr lang="en-GB"/>
        </a:p>
      </dgm:t>
    </dgm:pt>
    <dgm:pt modelId="{770A7B33-4CDA-4F04-97BB-1AA4B113EB8B}" type="sibTrans" cxnId="{0509509D-0A8D-4573-9F12-7AC57F144B51}">
      <dgm:prSet/>
      <dgm:spPr/>
      <dgm:t>
        <a:bodyPr/>
        <a:lstStyle/>
        <a:p>
          <a:endParaRPr lang="en-GB"/>
        </a:p>
      </dgm:t>
    </dgm:pt>
    <dgm:pt modelId="{634686A1-B34C-4F1A-A72C-C47FC5373159}">
      <dgm:prSet phldrT="[Text]" custT="1"/>
      <dgm:spPr>
        <a:solidFill>
          <a:schemeClr val="accent1"/>
        </a:solidFill>
      </dgm:spPr>
      <dgm:t>
        <a:bodyPr/>
        <a:lstStyle/>
        <a:p>
          <a:pPr algn="l"/>
          <a:r>
            <a:rPr lang="en-GB" sz="2800" dirty="0" smtClean="0"/>
            <a:t>High Criticality</a:t>
          </a:r>
          <a:endParaRPr lang="en-GB" sz="2800" dirty="0"/>
        </a:p>
      </dgm:t>
    </dgm:pt>
    <dgm:pt modelId="{876BE6E8-2A4C-400E-9CB9-BBF02FC9495A}" type="parTrans" cxnId="{CDE673EB-12B0-4FE0-98D9-699DD07F0A80}">
      <dgm:prSet/>
      <dgm:spPr/>
      <dgm:t>
        <a:bodyPr/>
        <a:lstStyle/>
        <a:p>
          <a:endParaRPr lang="en-GB"/>
        </a:p>
      </dgm:t>
    </dgm:pt>
    <dgm:pt modelId="{FE147122-0D03-4FAB-B46F-12D82DB7B7EF}" type="sibTrans" cxnId="{CDE673EB-12B0-4FE0-98D9-699DD07F0A80}">
      <dgm:prSet/>
      <dgm:spPr/>
      <dgm:t>
        <a:bodyPr/>
        <a:lstStyle/>
        <a:p>
          <a:endParaRPr lang="en-GB"/>
        </a:p>
      </dgm:t>
    </dgm:pt>
    <dgm:pt modelId="{4614166E-C338-4BBA-B1BE-4B76551B3659}">
      <dgm:prSet phldrT="[Text]" custT="1"/>
      <dgm:spPr>
        <a:solidFill>
          <a:schemeClr val="bg1">
            <a:alpha val="90000"/>
          </a:schemeClr>
        </a:solidFill>
        <a:ln>
          <a:noFill/>
        </a:ln>
      </dgm:spPr>
      <dgm:t>
        <a:bodyPr/>
        <a:lstStyle/>
        <a:p>
          <a:endParaRPr lang="en-GB" sz="1800" dirty="0">
            <a:solidFill>
              <a:schemeClr val="accent1"/>
            </a:solidFill>
          </a:endParaRPr>
        </a:p>
      </dgm:t>
    </dgm:pt>
    <dgm:pt modelId="{D0C5E6F3-B9A7-465D-BB3F-F66BB1613035}" type="parTrans" cxnId="{70BEDD73-1694-49A9-AC75-E46680BC0DBD}">
      <dgm:prSet/>
      <dgm:spPr/>
      <dgm:t>
        <a:bodyPr/>
        <a:lstStyle/>
        <a:p>
          <a:endParaRPr lang="en-GB"/>
        </a:p>
      </dgm:t>
    </dgm:pt>
    <dgm:pt modelId="{E6A2DCC2-9947-48A8-A433-0D8A7D13CDE6}" type="sibTrans" cxnId="{70BEDD73-1694-49A9-AC75-E46680BC0DBD}">
      <dgm:prSet/>
      <dgm:spPr/>
      <dgm:t>
        <a:bodyPr/>
        <a:lstStyle/>
        <a:p>
          <a:endParaRPr lang="en-GB"/>
        </a:p>
      </dgm:t>
    </dgm:pt>
    <dgm:pt modelId="{EA2DBF03-2702-429D-8826-98D3799646E1}">
      <dgm:prSet phldrT="[Text]" custT="1"/>
      <dgm:spPr>
        <a:solidFill>
          <a:schemeClr val="bg1">
            <a:alpha val="90000"/>
          </a:schemeClr>
        </a:solidFill>
        <a:ln>
          <a:noFill/>
        </a:ln>
      </dgm:spPr>
      <dgm:t>
        <a:bodyPr/>
        <a:lstStyle/>
        <a:p>
          <a:endParaRPr lang="en-GB" sz="1800" dirty="0"/>
        </a:p>
      </dgm:t>
    </dgm:pt>
    <dgm:pt modelId="{3B55B877-90D7-4BF2-9BE3-611E66BD86C3}" type="parTrans" cxnId="{E3863CF2-18DB-4A87-A711-2DCDCD87FF3A}">
      <dgm:prSet/>
      <dgm:spPr/>
      <dgm:t>
        <a:bodyPr/>
        <a:lstStyle/>
        <a:p>
          <a:endParaRPr lang="en-GB"/>
        </a:p>
      </dgm:t>
    </dgm:pt>
    <dgm:pt modelId="{34E58C6A-7651-4FE0-ABF5-7CB79EB3C0E2}" type="sibTrans" cxnId="{E3863CF2-18DB-4A87-A711-2DCDCD87FF3A}">
      <dgm:prSet/>
      <dgm:spPr/>
      <dgm:t>
        <a:bodyPr/>
        <a:lstStyle/>
        <a:p>
          <a:endParaRPr lang="en-GB"/>
        </a:p>
      </dgm:t>
    </dgm:pt>
    <dgm:pt modelId="{C3F33732-8F9B-4423-9D85-F1351ADA3360}">
      <dgm:prSet phldrT="[Text]" custT="1"/>
      <dgm:spPr>
        <a:solidFill>
          <a:schemeClr val="bg1">
            <a:alpha val="90000"/>
          </a:schemeClr>
        </a:solidFill>
        <a:ln>
          <a:noFill/>
        </a:ln>
      </dgm:spPr>
      <dgm:t>
        <a:bodyPr/>
        <a:lstStyle/>
        <a:p>
          <a:endParaRPr lang="en-GB" sz="1800" dirty="0"/>
        </a:p>
      </dgm:t>
    </dgm:pt>
    <dgm:pt modelId="{5FCE5D19-C4B6-4A25-9009-21727CB9B47F}" type="parTrans" cxnId="{8297AD2E-E4C4-43AA-BF3A-004CE216B65F}">
      <dgm:prSet/>
      <dgm:spPr/>
      <dgm:t>
        <a:bodyPr/>
        <a:lstStyle/>
        <a:p>
          <a:endParaRPr lang="en-GB"/>
        </a:p>
      </dgm:t>
    </dgm:pt>
    <dgm:pt modelId="{AB5D9EFF-E79E-4F52-9A6A-21E62BE9D563}" type="sibTrans" cxnId="{8297AD2E-E4C4-43AA-BF3A-004CE216B65F}">
      <dgm:prSet/>
      <dgm:spPr/>
      <dgm:t>
        <a:bodyPr/>
        <a:lstStyle/>
        <a:p>
          <a:endParaRPr lang="en-GB"/>
        </a:p>
      </dgm:t>
    </dgm:pt>
    <dgm:pt modelId="{8076D088-C360-4911-9E73-CFB747EAEC6B}">
      <dgm:prSet custT="1"/>
      <dgm:spPr/>
      <dgm:t>
        <a:bodyPr/>
        <a:lstStyle/>
        <a:p>
          <a:endParaRPr lang="en-US" sz="1800" b="0" i="0" dirty="0"/>
        </a:p>
      </dgm:t>
    </dgm:pt>
    <dgm:pt modelId="{E9CFCBE9-C345-45F4-A8D5-31B806AC4371}" type="parTrans" cxnId="{D177272D-8D83-4CD7-8C04-0EE3E077D4DA}">
      <dgm:prSet/>
      <dgm:spPr/>
      <dgm:t>
        <a:bodyPr/>
        <a:lstStyle/>
        <a:p>
          <a:endParaRPr lang="en-GB"/>
        </a:p>
      </dgm:t>
    </dgm:pt>
    <dgm:pt modelId="{116781A6-2AB9-4920-9E4D-917C65DA4983}" type="sibTrans" cxnId="{D177272D-8D83-4CD7-8C04-0EE3E077D4DA}">
      <dgm:prSet/>
      <dgm:spPr/>
      <dgm:t>
        <a:bodyPr/>
        <a:lstStyle/>
        <a:p>
          <a:endParaRPr lang="en-GB"/>
        </a:p>
      </dgm:t>
    </dgm:pt>
    <dgm:pt modelId="{1606D6BB-C3FF-448E-B901-87FA33E622A5}">
      <dgm:prSet custT="1"/>
      <dgm:spPr/>
      <dgm:t>
        <a:bodyPr/>
        <a:lstStyle/>
        <a:p>
          <a:endParaRPr lang="en-US" sz="1800" b="0" i="0" dirty="0"/>
        </a:p>
      </dgm:t>
    </dgm:pt>
    <dgm:pt modelId="{8F285383-2B82-4572-9F56-0D16DFCD0B43}" type="parTrans" cxnId="{C3A5A2E7-FC70-460C-BA9A-15792C93A4C1}">
      <dgm:prSet/>
      <dgm:spPr/>
      <dgm:t>
        <a:bodyPr/>
        <a:lstStyle/>
        <a:p>
          <a:endParaRPr lang="en-GB"/>
        </a:p>
      </dgm:t>
    </dgm:pt>
    <dgm:pt modelId="{4C48CD73-13BC-4B2E-85A1-04D561095816}" type="sibTrans" cxnId="{C3A5A2E7-FC70-460C-BA9A-15792C93A4C1}">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3" custScaleX="82706">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custScaleX="109554">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ADBB9F80-6171-4CA3-87E9-2D802C6794F1}" type="pres">
      <dgm:prSet presAssocID="{0FF57511-BB3F-46A6-8D2B-57C95BDA6BC4}" presName="linNode" presStyleCnt="0"/>
      <dgm:spPr/>
    </dgm:pt>
    <dgm:pt modelId="{26E9E06C-FADB-44D1-A2A9-F661D35ABEE0}" type="pres">
      <dgm:prSet presAssocID="{0FF57511-BB3F-46A6-8D2B-57C95BDA6BC4}" presName="parentText" presStyleLbl="node1" presStyleIdx="1" presStyleCnt="3" custScaleX="82706">
        <dgm:presLayoutVars>
          <dgm:chMax val="1"/>
          <dgm:bulletEnabled val="1"/>
        </dgm:presLayoutVars>
      </dgm:prSet>
      <dgm:spPr>
        <a:prstGeom prst="rect">
          <a:avLst/>
        </a:prstGeom>
      </dgm:spPr>
      <dgm:t>
        <a:bodyPr/>
        <a:lstStyle/>
        <a:p>
          <a:endParaRPr lang="en-GB"/>
        </a:p>
      </dgm:t>
    </dgm:pt>
    <dgm:pt modelId="{2306E7C1-A194-4C64-9722-5BCA80DB670C}" type="pres">
      <dgm:prSet presAssocID="{0FF57511-BB3F-46A6-8D2B-57C95BDA6BC4}" presName="descendantText" presStyleLbl="alignAccFollowNode1" presStyleIdx="1" presStyleCnt="3" custScaleX="109554">
        <dgm:presLayoutVars>
          <dgm:bulletEnabled val="1"/>
        </dgm:presLayoutVars>
      </dgm:prSet>
      <dgm:spPr/>
      <dgm:t>
        <a:bodyPr/>
        <a:lstStyle/>
        <a:p>
          <a:endParaRPr lang="en-GB"/>
        </a:p>
      </dgm:t>
    </dgm:pt>
    <dgm:pt modelId="{4629E710-6296-4438-91B1-08D1BE194335}" type="pres">
      <dgm:prSet presAssocID="{FD89337D-382E-41D1-9AAF-BA1B567640B1}" presName="sp" presStyleCnt="0"/>
      <dgm:spPr/>
    </dgm:pt>
    <dgm:pt modelId="{40848C7B-99DD-4C84-9CC6-09F604622753}" type="pres">
      <dgm:prSet presAssocID="{634686A1-B34C-4F1A-A72C-C47FC5373159}" presName="linNode" presStyleCnt="0"/>
      <dgm:spPr/>
    </dgm:pt>
    <dgm:pt modelId="{69E5A299-B22F-472A-9D93-E2A612D5B234}" type="pres">
      <dgm:prSet presAssocID="{634686A1-B34C-4F1A-A72C-C47FC5373159}" presName="parentText" presStyleLbl="node1" presStyleIdx="2" presStyleCnt="3" custScaleX="82706">
        <dgm:presLayoutVars>
          <dgm:chMax val="1"/>
          <dgm:bulletEnabled val="1"/>
        </dgm:presLayoutVars>
      </dgm:prSet>
      <dgm:spPr>
        <a:prstGeom prst="rect">
          <a:avLst/>
        </a:prstGeom>
      </dgm:spPr>
      <dgm:t>
        <a:bodyPr/>
        <a:lstStyle/>
        <a:p>
          <a:endParaRPr lang="en-GB"/>
        </a:p>
      </dgm:t>
    </dgm:pt>
    <dgm:pt modelId="{0CC7DE73-D248-4981-8FFC-35CBFA79EA23}" type="pres">
      <dgm:prSet presAssocID="{634686A1-B34C-4F1A-A72C-C47FC5373159}" presName="descendantText" presStyleLbl="alignAccFollowNode1" presStyleIdx="2" presStyleCnt="3" custScaleX="109554">
        <dgm:presLayoutVars>
          <dgm:bulletEnabled val="1"/>
        </dgm:presLayoutVars>
      </dgm:prSet>
      <dgm:spPr/>
      <dgm:t>
        <a:bodyPr/>
        <a:lstStyle/>
        <a:p>
          <a:endParaRPr lang="en-GB"/>
        </a:p>
      </dgm:t>
    </dgm:pt>
  </dgm:ptLst>
  <dgm:cxnLst>
    <dgm:cxn modelId="{E3863CF2-18DB-4A87-A711-2DCDCD87FF3A}" srcId="{D7DA8A9C-B74A-4C3A-AD78-6C36C357F04B}" destId="{EA2DBF03-2702-429D-8826-98D3799646E1}" srcOrd="1" destOrd="0" parTransId="{3B55B877-90D7-4BF2-9BE3-611E66BD86C3}" sibTransId="{34E58C6A-7651-4FE0-ABF5-7CB79EB3C0E2}"/>
    <dgm:cxn modelId="{47126998-55D8-4672-97E1-211C07A4FFB3}" type="presOf" srcId="{0FF57511-BB3F-46A6-8D2B-57C95BDA6BC4}" destId="{26E9E06C-FADB-44D1-A2A9-F661D35ABEE0}" srcOrd="0" destOrd="0" presId="urn:microsoft.com/office/officeart/2005/8/layout/vList5"/>
    <dgm:cxn modelId="{E3E79D5D-E1A7-492A-9C7C-B3C7BD779736}" type="presOf" srcId="{634686A1-B34C-4F1A-A72C-C47FC5373159}" destId="{69E5A299-B22F-472A-9D93-E2A612D5B234}" srcOrd="0" destOrd="0" presId="urn:microsoft.com/office/officeart/2005/8/layout/vList5"/>
    <dgm:cxn modelId="{3FF6AB29-4CB1-4564-8284-2EAC5C7B4182}" type="presOf" srcId="{D7DA8A9C-B74A-4C3A-AD78-6C36C357F04B}" destId="{83748B15-655A-499E-AE97-5681E3B432E2}" srcOrd="0" destOrd="0" presId="urn:microsoft.com/office/officeart/2005/8/layout/vList5"/>
    <dgm:cxn modelId="{7B197DEE-1E48-45FB-82C4-9EB8DC9BF443}" type="presOf" srcId="{8076D088-C360-4911-9E73-CFB747EAEC6B}" destId="{0CC7DE73-D248-4981-8FFC-35CBFA79EA23}" srcOrd="0" destOrd="2" presId="urn:microsoft.com/office/officeart/2005/8/layout/vList5"/>
    <dgm:cxn modelId="{70BEDD73-1694-49A9-AC75-E46680BC0DBD}" srcId="{634686A1-B34C-4F1A-A72C-C47FC5373159}" destId="{4614166E-C338-4BBA-B1BE-4B76551B3659}" srcOrd="0" destOrd="0" parTransId="{D0C5E6F3-B9A7-465D-BB3F-F66BB1613035}" sibTransId="{E6A2DCC2-9947-48A8-A433-0D8A7D13CDE6}"/>
    <dgm:cxn modelId="{F748F3D0-166D-466C-9ADC-3AA6EFA2C74C}" srcId="{D7DA8A9C-B74A-4C3A-AD78-6C36C357F04B}" destId="{A6D7B0E6-696C-4E48-BAF6-3F555EAADD73}" srcOrd="0" destOrd="0" parTransId="{C6B19DBB-E21A-42D7-9120-8D1647B485FA}" sibTransId="{3E007CC9-F220-47A3-A82B-1D900E0D396D}"/>
    <dgm:cxn modelId="{60437FA4-62D8-4A3A-A46C-61896DDCF378}" type="presOf" srcId="{F392F6DB-1B43-4D06-83BD-A6A88A61A29E}" destId="{2306E7C1-A194-4C64-9722-5BCA80DB670C}" srcOrd="0" destOrd="0" presId="urn:microsoft.com/office/officeart/2005/8/layout/vList5"/>
    <dgm:cxn modelId="{CDE673EB-12B0-4FE0-98D9-699DD07F0A80}" srcId="{ACA58C29-1FB7-46BD-8FCD-C059814EA806}" destId="{634686A1-B34C-4F1A-A72C-C47FC5373159}" srcOrd="2" destOrd="0" parTransId="{876BE6E8-2A4C-400E-9CB9-BBF02FC9495A}" sibTransId="{FE147122-0D03-4FAB-B46F-12D82DB7B7EF}"/>
    <dgm:cxn modelId="{D177272D-8D83-4CD7-8C04-0EE3E077D4DA}" srcId="{634686A1-B34C-4F1A-A72C-C47FC5373159}" destId="{8076D088-C360-4911-9E73-CFB747EAEC6B}" srcOrd="2" destOrd="0" parTransId="{E9CFCBE9-C345-45F4-A8D5-31B806AC4371}" sibTransId="{116781A6-2AB9-4920-9E4D-917C65DA4983}"/>
    <dgm:cxn modelId="{5DFB2C68-3902-49A6-B700-4F8E3A9D3B41}" type="presOf" srcId="{ACA58C29-1FB7-46BD-8FCD-C059814EA806}" destId="{1706579A-5649-46BA-B4EB-E6BA60D69482}" srcOrd="0" destOrd="0" presId="urn:microsoft.com/office/officeart/2005/8/layout/vList5"/>
    <dgm:cxn modelId="{C936C256-FFC8-4087-B6A3-103D1DAECF97}" type="presOf" srcId="{1606D6BB-C3FF-448E-B901-87FA33E622A5}" destId="{0CC7DE73-D248-4981-8FFC-35CBFA79EA23}" srcOrd="0" destOrd="1" presId="urn:microsoft.com/office/officeart/2005/8/layout/vList5"/>
    <dgm:cxn modelId="{0509509D-0A8D-4573-9F12-7AC57F144B51}" srcId="{0FF57511-BB3F-46A6-8D2B-57C95BDA6BC4}" destId="{F392F6DB-1B43-4D06-83BD-A6A88A61A29E}" srcOrd="0" destOrd="0" parTransId="{BF161629-1636-4982-8D12-F805457960E9}" sibTransId="{770A7B33-4CDA-4F04-97BB-1AA4B113EB8B}"/>
    <dgm:cxn modelId="{618B7593-C8F6-4167-B80B-8E59E767BFA5}" srcId="{ACA58C29-1FB7-46BD-8FCD-C059814EA806}" destId="{D7DA8A9C-B74A-4C3A-AD78-6C36C357F04B}" srcOrd="0" destOrd="0" parTransId="{7E72F7B3-C3B2-47EE-B0D3-775ED62011A8}" sibTransId="{D26CB386-EADB-46DD-A810-3B5E065B544B}"/>
    <dgm:cxn modelId="{8297AD2E-E4C4-43AA-BF3A-004CE216B65F}" srcId="{0FF57511-BB3F-46A6-8D2B-57C95BDA6BC4}" destId="{C3F33732-8F9B-4423-9D85-F1351ADA3360}" srcOrd="1" destOrd="0" parTransId="{5FCE5D19-C4B6-4A25-9009-21727CB9B47F}" sibTransId="{AB5D9EFF-E79E-4F52-9A6A-21E62BE9D563}"/>
    <dgm:cxn modelId="{2D45A5ED-2EBD-4760-A85E-CCEF87446810}" type="presOf" srcId="{4614166E-C338-4BBA-B1BE-4B76551B3659}" destId="{0CC7DE73-D248-4981-8FFC-35CBFA79EA23}" srcOrd="0" destOrd="0" presId="urn:microsoft.com/office/officeart/2005/8/layout/vList5"/>
    <dgm:cxn modelId="{293F8E36-42EC-41ED-BFCF-692769E1C2C8}" type="presOf" srcId="{A6D7B0E6-696C-4E48-BAF6-3F555EAADD73}" destId="{2EF373FA-6663-41F2-8AD5-3B97D8CFCE65}" srcOrd="0" destOrd="0" presId="urn:microsoft.com/office/officeart/2005/8/layout/vList5"/>
    <dgm:cxn modelId="{C3A5A2E7-FC70-460C-BA9A-15792C93A4C1}" srcId="{634686A1-B34C-4F1A-A72C-C47FC5373159}" destId="{1606D6BB-C3FF-448E-B901-87FA33E622A5}" srcOrd="1" destOrd="0" parTransId="{8F285383-2B82-4572-9F56-0D16DFCD0B43}" sibTransId="{4C48CD73-13BC-4B2E-85A1-04D561095816}"/>
    <dgm:cxn modelId="{617772E0-AFD8-4228-BD5C-E791F174DB41}" srcId="{ACA58C29-1FB7-46BD-8FCD-C059814EA806}" destId="{0FF57511-BB3F-46A6-8D2B-57C95BDA6BC4}" srcOrd="1" destOrd="0" parTransId="{D4456DE9-2308-4B22-88DE-F9E1A9109337}" sibTransId="{FD89337D-382E-41D1-9AAF-BA1B567640B1}"/>
    <dgm:cxn modelId="{A8E0E0CD-46A0-4802-8B89-7EC5D9682C2A}" type="presOf" srcId="{EA2DBF03-2702-429D-8826-98D3799646E1}" destId="{2EF373FA-6663-41F2-8AD5-3B97D8CFCE65}" srcOrd="0" destOrd="1" presId="urn:microsoft.com/office/officeart/2005/8/layout/vList5"/>
    <dgm:cxn modelId="{76ADFA3E-0A87-4066-A9FE-01EB49A18741}" type="presOf" srcId="{C3F33732-8F9B-4423-9D85-F1351ADA3360}" destId="{2306E7C1-A194-4C64-9722-5BCA80DB670C}" srcOrd="0" destOrd="1" presId="urn:microsoft.com/office/officeart/2005/8/layout/vList5"/>
    <dgm:cxn modelId="{5A60D519-FF90-4AC1-AE8F-1314C4BF4184}" type="presParOf" srcId="{1706579A-5649-46BA-B4EB-E6BA60D69482}" destId="{DAA31EEC-5CA6-4410-86D5-6C0A4C791767}" srcOrd="0" destOrd="0" presId="urn:microsoft.com/office/officeart/2005/8/layout/vList5"/>
    <dgm:cxn modelId="{626BACA5-68CE-485B-A99B-1522D856D74A}" type="presParOf" srcId="{DAA31EEC-5CA6-4410-86D5-6C0A4C791767}" destId="{83748B15-655A-499E-AE97-5681E3B432E2}" srcOrd="0" destOrd="0" presId="urn:microsoft.com/office/officeart/2005/8/layout/vList5"/>
    <dgm:cxn modelId="{93AC8F73-2C03-430D-B6D2-8B1B6A12C229}" type="presParOf" srcId="{DAA31EEC-5CA6-4410-86D5-6C0A4C791767}" destId="{2EF373FA-6663-41F2-8AD5-3B97D8CFCE65}" srcOrd="1" destOrd="0" presId="urn:microsoft.com/office/officeart/2005/8/layout/vList5"/>
    <dgm:cxn modelId="{3F60081B-490F-4974-993B-5E86034234A6}" type="presParOf" srcId="{1706579A-5649-46BA-B4EB-E6BA60D69482}" destId="{9A501643-933B-4B59-BE7E-7BEDD108F369}" srcOrd="1" destOrd="0" presId="urn:microsoft.com/office/officeart/2005/8/layout/vList5"/>
    <dgm:cxn modelId="{D781D72C-AB26-4075-8A53-DD1384F932FF}" type="presParOf" srcId="{1706579A-5649-46BA-B4EB-E6BA60D69482}" destId="{ADBB9F80-6171-4CA3-87E9-2D802C6794F1}" srcOrd="2" destOrd="0" presId="urn:microsoft.com/office/officeart/2005/8/layout/vList5"/>
    <dgm:cxn modelId="{9F57D011-E2E6-429B-92CB-9FD7256556D7}" type="presParOf" srcId="{ADBB9F80-6171-4CA3-87E9-2D802C6794F1}" destId="{26E9E06C-FADB-44D1-A2A9-F661D35ABEE0}" srcOrd="0" destOrd="0" presId="urn:microsoft.com/office/officeart/2005/8/layout/vList5"/>
    <dgm:cxn modelId="{34F080A9-FC9E-49B7-90E0-5FE74FBCB503}" type="presParOf" srcId="{ADBB9F80-6171-4CA3-87E9-2D802C6794F1}" destId="{2306E7C1-A194-4C64-9722-5BCA80DB670C}" srcOrd="1" destOrd="0" presId="urn:microsoft.com/office/officeart/2005/8/layout/vList5"/>
    <dgm:cxn modelId="{2FAAC335-FF04-43C3-8652-4E8FB58DCD69}" type="presParOf" srcId="{1706579A-5649-46BA-B4EB-E6BA60D69482}" destId="{4629E710-6296-4438-91B1-08D1BE194335}" srcOrd="3" destOrd="0" presId="urn:microsoft.com/office/officeart/2005/8/layout/vList5"/>
    <dgm:cxn modelId="{CCFCBE87-249D-431F-AC05-BC54174A7711}" type="presParOf" srcId="{1706579A-5649-46BA-B4EB-E6BA60D69482}" destId="{40848C7B-99DD-4C84-9CC6-09F604622753}" srcOrd="4" destOrd="0" presId="urn:microsoft.com/office/officeart/2005/8/layout/vList5"/>
    <dgm:cxn modelId="{265E6CD4-E1C5-4B31-90CF-135523A4062E}" type="presParOf" srcId="{40848C7B-99DD-4C84-9CC6-09F604622753}" destId="{69E5A299-B22F-472A-9D93-E2A612D5B234}" srcOrd="0" destOrd="0" presId="urn:microsoft.com/office/officeart/2005/8/layout/vList5"/>
    <dgm:cxn modelId="{74051DCB-0BE8-4A08-B945-FC9B6D212079}" type="presParOf" srcId="{40848C7B-99DD-4C84-9CC6-09F604622753}" destId="{0CC7DE73-D248-4981-8FFC-35CBFA79EA2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CA58C29-1FB7-46BD-8FCD-C059814EA806}"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GB"/>
        </a:p>
      </dgm:t>
    </dgm:pt>
    <dgm:pt modelId="{D7DA8A9C-B74A-4C3A-AD78-6C36C357F04B}">
      <dgm:prSet phldrT="[Text]" custT="1"/>
      <dgm:spPr>
        <a:solidFill>
          <a:schemeClr val="accent1"/>
        </a:solidFill>
      </dgm:spPr>
      <dgm:t>
        <a:bodyPr/>
        <a:lstStyle/>
        <a:p>
          <a:pPr algn="l"/>
          <a:r>
            <a:rPr lang="en-GB" sz="2800" dirty="0" smtClean="0"/>
            <a:t>Minimum</a:t>
          </a:r>
          <a:endParaRPr lang="en-GB" sz="2800" dirty="0"/>
        </a:p>
      </dgm:t>
    </dgm:pt>
    <dgm:pt modelId="{7E72F7B3-C3B2-47EE-B0D3-775ED62011A8}" type="parTrans" cxnId="{618B7593-C8F6-4167-B80B-8E59E767BFA5}">
      <dgm:prSet/>
      <dgm:spPr/>
      <dgm:t>
        <a:bodyPr/>
        <a:lstStyle/>
        <a:p>
          <a:endParaRPr lang="en-GB"/>
        </a:p>
      </dgm:t>
    </dgm:pt>
    <dgm:pt modelId="{D26CB386-EADB-46DD-A810-3B5E065B544B}" type="sibTrans" cxnId="{618B7593-C8F6-4167-B80B-8E59E767BFA5}">
      <dgm:prSet/>
      <dgm:spPr/>
      <dgm:t>
        <a:bodyPr/>
        <a:lstStyle/>
        <a:p>
          <a:endParaRPr lang="en-GB"/>
        </a:p>
      </dgm:t>
    </dgm:pt>
    <dgm:pt modelId="{A6D7B0E6-696C-4E48-BAF6-3F555EAADD73}">
      <dgm:prSet phldrT="[Text]" custT="1"/>
      <dgm:spPr>
        <a:solidFill>
          <a:schemeClr val="bg1">
            <a:alpha val="90000"/>
          </a:schemeClr>
        </a:solidFill>
        <a:ln>
          <a:noFill/>
        </a:ln>
      </dgm:spPr>
      <dgm:t>
        <a:bodyPr/>
        <a:lstStyle/>
        <a:p>
          <a:endParaRPr lang="en-GB" sz="1800" dirty="0"/>
        </a:p>
      </dgm:t>
    </dgm:pt>
    <dgm:pt modelId="{C6B19DBB-E21A-42D7-9120-8D1647B485FA}" type="parTrans" cxnId="{F748F3D0-166D-466C-9ADC-3AA6EFA2C74C}">
      <dgm:prSet/>
      <dgm:spPr/>
      <dgm:t>
        <a:bodyPr/>
        <a:lstStyle/>
        <a:p>
          <a:endParaRPr lang="en-GB"/>
        </a:p>
      </dgm:t>
    </dgm:pt>
    <dgm:pt modelId="{3E007CC9-F220-47A3-A82B-1D900E0D396D}" type="sibTrans" cxnId="{F748F3D0-166D-466C-9ADC-3AA6EFA2C74C}">
      <dgm:prSet/>
      <dgm:spPr/>
      <dgm:t>
        <a:bodyPr/>
        <a:lstStyle/>
        <a:p>
          <a:endParaRPr lang="en-GB"/>
        </a:p>
      </dgm:t>
    </dgm:pt>
    <dgm:pt modelId="{0FF57511-BB3F-46A6-8D2B-57C95BDA6BC4}">
      <dgm:prSet phldrT="[Text]" custT="1"/>
      <dgm:spPr>
        <a:solidFill>
          <a:schemeClr val="accent1"/>
        </a:solidFill>
      </dgm:spPr>
      <dgm:t>
        <a:bodyPr/>
        <a:lstStyle/>
        <a:p>
          <a:pPr algn="l"/>
          <a:r>
            <a:rPr lang="en-GB" sz="2800" dirty="0" smtClean="0"/>
            <a:t>High Complexity</a:t>
          </a:r>
          <a:endParaRPr lang="en-GB" sz="2800" dirty="0"/>
        </a:p>
      </dgm:t>
    </dgm:pt>
    <dgm:pt modelId="{D4456DE9-2308-4B22-88DE-F9E1A9109337}" type="parTrans" cxnId="{617772E0-AFD8-4228-BD5C-E791F174DB41}">
      <dgm:prSet/>
      <dgm:spPr/>
      <dgm:t>
        <a:bodyPr/>
        <a:lstStyle/>
        <a:p>
          <a:endParaRPr lang="en-GB"/>
        </a:p>
      </dgm:t>
    </dgm:pt>
    <dgm:pt modelId="{FD89337D-382E-41D1-9AAF-BA1B567640B1}" type="sibTrans" cxnId="{617772E0-AFD8-4228-BD5C-E791F174DB41}">
      <dgm:prSet/>
      <dgm:spPr/>
      <dgm:t>
        <a:bodyPr/>
        <a:lstStyle/>
        <a:p>
          <a:endParaRPr lang="en-GB"/>
        </a:p>
      </dgm:t>
    </dgm:pt>
    <dgm:pt modelId="{F392F6DB-1B43-4D06-83BD-A6A88A61A29E}">
      <dgm:prSet phldrT="[Text]" custT="1"/>
      <dgm:spPr>
        <a:solidFill>
          <a:schemeClr val="bg1">
            <a:alpha val="90000"/>
          </a:schemeClr>
        </a:solidFill>
        <a:ln>
          <a:noFill/>
        </a:ln>
      </dgm:spPr>
      <dgm:t>
        <a:bodyPr/>
        <a:lstStyle/>
        <a:p>
          <a:endParaRPr lang="en-GB" sz="1800" dirty="0"/>
        </a:p>
      </dgm:t>
    </dgm:pt>
    <dgm:pt modelId="{BF161629-1636-4982-8D12-F805457960E9}" type="parTrans" cxnId="{0509509D-0A8D-4573-9F12-7AC57F144B51}">
      <dgm:prSet/>
      <dgm:spPr/>
      <dgm:t>
        <a:bodyPr/>
        <a:lstStyle/>
        <a:p>
          <a:endParaRPr lang="en-GB"/>
        </a:p>
      </dgm:t>
    </dgm:pt>
    <dgm:pt modelId="{770A7B33-4CDA-4F04-97BB-1AA4B113EB8B}" type="sibTrans" cxnId="{0509509D-0A8D-4573-9F12-7AC57F144B51}">
      <dgm:prSet/>
      <dgm:spPr/>
      <dgm:t>
        <a:bodyPr/>
        <a:lstStyle/>
        <a:p>
          <a:endParaRPr lang="en-GB"/>
        </a:p>
      </dgm:t>
    </dgm:pt>
    <dgm:pt modelId="{634686A1-B34C-4F1A-A72C-C47FC5373159}">
      <dgm:prSet phldrT="[Text]" custT="1"/>
      <dgm:spPr>
        <a:solidFill>
          <a:schemeClr val="accent1"/>
        </a:solidFill>
      </dgm:spPr>
      <dgm:t>
        <a:bodyPr/>
        <a:lstStyle/>
        <a:p>
          <a:pPr algn="l"/>
          <a:r>
            <a:rPr lang="en-GB" sz="2800" dirty="0" smtClean="0"/>
            <a:t>High Criticality</a:t>
          </a:r>
          <a:endParaRPr lang="en-GB" sz="2800" dirty="0"/>
        </a:p>
      </dgm:t>
    </dgm:pt>
    <dgm:pt modelId="{876BE6E8-2A4C-400E-9CB9-BBF02FC9495A}" type="parTrans" cxnId="{CDE673EB-12B0-4FE0-98D9-699DD07F0A80}">
      <dgm:prSet/>
      <dgm:spPr/>
      <dgm:t>
        <a:bodyPr/>
        <a:lstStyle/>
        <a:p>
          <a:endParaRPr lang="en-GB"/>
        </a:p>
      </dgm:t>
    </dgm:pt>
    <dgm:pt modelId="{FE147122-0D03-4FAB-B46F-12D82DB7B7EF}" type="sibTrans" cxnId="{CDE673EB-12B0-4FE0-98D9-699DD07F0A80}">
      <dgm:prSet/>
      <dgm:spPr/>
      <dgm:t>
        <a:bodyPr/>
        <a:lstStyle/>
        <a:p>
          <a:endParaRPr lang="en-GB"/>
        </a:p>
      </dgm:t>
    </dgm:pt>
    <dgm:pt modelId="{4614166E-C338-4BBA-B1BE-4B76551B3659}">
      <dgm:prSet phldrT="[Text]" custT="1"/>
      <dgm:spPr>
        <a:solidFill>
          <a:schemeClr val="bg1">
            <a:alpha val="90000"/>
          </a:schemeClr>
        </a:solidFill>
        <a:ln>
          <a:noFill/>
        </a:ln>
      </dgm:spPr>
      <dgm:t>
        <a:bodyPr/>
        <a:lstStyle/>
        <a:p>
          <a:endParaRPr lang="en-GB" sz="1800" dirty="0">
            <a:solidFill>
              <a:schemeClr val="accent1"/>
            </a:solidFill>
          </a:endParaRPr>
        </a:p>
      </dgm:t>
    </dgm:pt>
    <dgm:pt modelId="{D0C5E6F3-B9A7-465D-BB3F-F66BB1613035}" type="parTrans" cxnId="{70BEDD73-1694-49A9-AC75-E46680BC0DBD}">
      <dgm:prSet/>
      <dgm:spPr/>
      <dgm:t>
        <a:bodyPr/>
        <a:lstStyle/>
        <a:p>
          <a:endParaRPr lang="en-GB"/>
        </a:p>
      </dgm:t>
    </dgm:pt>
    <dgm:pt modelId="{E6A2DCC2-9947-48A8-A433-0D8A7D13CDE6}" type="sibTrans" cxnId="{70BEDD73-1694-49A9-AC75-E46680BC0DBD}">
      <dgm:prSet/>
      <dgm:spPr/>
      <dgm:t>
        <a:bodyPr/>
        <a:lstStyle/>
        <a:p>
          <a:endParaRPr lang="en-GB"/>
        </a:p>
      </dgm:t>
    </dgm:pt>
    <dgm:pt modelId="{EA2DBF03-2702-429D-8826-98D3799646E1}">
      <dgm:prSet phldrT="[Text]" custT="1"/>
      <dgm:spPr>
        <a:solidFill>
          <a:schemeClr val="bg1">
            <a:alpha val="90000"/>
          </a:schemeClr>
        </a:solidFill>
        <a:ln>
          <a:noFill/>
        </a:ln>
      </dgm:spPr>
      <dgm:t>
        <a:bodyPr/>
        <a:lstStyle/>
        <a:p>
          <a:endParaRPr lang="en-GB" sz="1800" dirty="0"/>
        </a:p>
      </dgm:t>
    </dgm:pt>
    <dgm:pt modelId="{3B55B877-90D7-4BF2-9BE3-611E66BD86C3}" type="parTrans" cxnId="{E3863CF2-18DB-4A87-A711-2DCDCD87FF3A}">
      <dgm:prSet/>
      <dgm:spPr/>
      <dgm:t>
        <a:bodyPr/>
        <a:lstStyle/>
        <a:p>
          <a:endParaRPr lang="en-GB"/>
        </a:p>
      </dgm:t>
    </dgm:pt>
    <dgm:pt modelId="{34E58C6A-7651-4FE0-ABF5-7CB79EB3C0E2}" type="sibTrans" cxnId="{E3863CF2-18DB-4A87-A711-2DCDCD87FF3A}">
      <dgm:prSet/>
      <dgm:spPr/>
      <dgm:t>
        <a:bodyPr/>
        <a:lstStyle/>
        <a:p>
          <a:endParaRPr lang="en-GB"/>
        </a:p>
      </dgm:t>
    </dgm:pt>
    <dgm:pt modelId="{C3F33732-8F9B-4423-9D85-F1351ADA3360}">
      <dgm:prSet phldrT="[Text]" custT="1"/>
      <dgm:spPr>
        <a:solidFill>
          <a:schemeClr val="bg1">
            <a:alpha val="90000"/>
          </a:schemeClr>
        </a:solidFill>
        <a:ln>
          <a:noFill/>
        </a:ln>
      </dgm:spPr>
      <dgm:t>
        <a:bodyPr/>
        <a:lstStyle/>
        <a:p>
          <a:endParaRPr lang="en-GB" sz="1800" dirty="0"/>
        </a:p>
      </dgm:t>
    </dgm:pt>
    <dgm:pt modelId="{5FCE5D19-C4B6-4A25-9009-21727CB9B47F}" type="parTrans" cxnId="{8297AD2E-E4C4-43AA-BF3A-004CE216B65F}">
      <dgm:prSet/>
      <dgm:spPr/>
      <dgm:t>
        <a:bodyPr/>
        <a:lstStyle/>
        <a:p>
          <a:endParaRPr lang="en-GB"/>
        </a:p>
      </dgm:t>
    </dgm:pt>
    <dgm:pt modelId="{AB5D9EFF-E79E-4F52-9A6A-21E62BE9D563}" type="sibTrans" cxnId="{8297AD2E-E4C4-43AA-BF3A-004CE216B65F}">
      <dgm:prSet/>
      <dgm:spPr/>
      <dgm:t>
        <a:bodyPr/>
        <a:lstStyle/>
        <a:p>
          <a:endParaRPr lang="en-GB"/>
        </a:p>
      </dgm:t>
    </dgm:pt>
    <dgm:pt modelId="{8076D088-C360-4911-9E73-CFB747EAEC6B}">
      <dgm:prSet custT="1"/>
      <dgm:spPr/>
      <dgm:t>
        <a:bodyPr/>
        <a:lstStyle/>
        <a:p>
          <a:endParaRPr lang="en-US" sz="1800" b="0" i="0" dirty="0"/>
        </a:p>
      </dgm:t>
    </dgm:pt>
    <dgm:pt modelId="{E9CFCBE9-C345-45F4-A8D5-31B806AC4371}" type="parTrans" cxnId="{D177272D-8D83-4CD7-8C04-0EE3E077D4DA}">
      <dgm:prSet/>
      <dgm:spPr/>
      <dgm:t>
        <a:bodyPr/>
        <a:lstStyle/>
        <a:p>
          <a:endParaRPr lang="en-GB"/>
        </a:p>
      </dgm:t>
    </dgm:pt>
    <dgm:pt modelId="{116781A6-2AB9-4920-9E4D-917C65DA4983}" type="sibTrans" cxnId="{D177272D-8D83-4CD7-8C04-0EE3E077D4DA}">
      <dgm:prSet/>
      <dgm:spPr/>
      <dgm:t>
        <a:bodyPr/>
        <a:lstStyle/>
        <a:p>
          <a:endParaRPr lang="en-GB"/>
        </a:p>
      </dgm:t>
    </dgm:pt>
    <dgm:pt modelId="{1606D6BB-C3FF-448E-B901-87FA33E622A5}">
      <dgm:prSet custT="1"/>
      <dgm:spPr/>
      <dgm:t>
        <a:bodyPr/>
        <a:lstStyle/>
        <a:p>
          <a:endParaRPr lang="en-US" sz="1800" b="0" i="0" dirty="0"/>
        </a:p>
      </dgm:t>
    </dgm:pt>
    <dgm:pt modelId="{8F285383-2B82-4572-9F56-0D16DFCD0B43}" type="parTrans" cxnId="{C3A5A2E7-FC70-460C-BA9A-15792C93A4C1}">
      <dgm:prSet/>
      <dgm:spPr/>
      <dgm:t>
        <a:bodyPr/>
        <a:lstStyle/>
        <a:p>
          <a:endParaRPr lang="en-GB"/>
        </a:p>
      </dgm:t>
    </dgm:pt>
    <dgm:pt modelId="{4C48CD73-13BC-4B2E-85A1-04D561095816}" type="sibTrans" cxnId="{C3A5A2E7-FC70-460C-BA9A-15792C93A4C1}">
      <dgm:prSet/>
      <dgm:spPr/>
      <dgm:t>
        <a:bodyPr/>
        <a:lstStyle/>
        <a:p>
          <a:endParaRPr lang="en-GB"/>
        </a:p>
      </dgm:t>
    </dgm:pt>
    <dgm:pt modelId="{1706579A-5649-46BA-B4EB-E6BA60D69482}" type="pres">
      <dgm:prSet presAssocID="{ACA58C29-1FB7-46BD-8FCD-C059814EA806}" presName="Name0" presStyleCnt="0">
        <dgm:presLayoutVars>
          <dgm:dir/>
          <dgm:animLvl val="lvl"/>
          <dgm:resizeHandles val="exact"/>
        </dgm:presLayoutVars>
      </dgm:prSet>
      <dgm:spPr/>
      <dgm:t>
        <a:bodyPr/>
        <a:lstStyle/>
        <a:p>
          <a:endParaRPr lang="en-GB"/>
        </a:p>
      </dgm:t>
    </dgm:pt>
    <dgm:pt modelId="{DAA31EEC-5CA6-4410-86D5-6C0A4C791767}" type="pres">
      <dgm:prSet presAssocID="{D7DA8A9C-B74A-4C3A-AD78-6C36C357F04B}" presName="linNode" presStyleCnt="0"/>
      <dgm:spPr/>
      <dgm:t>
        <a:bodyPr/>
        <a:lstStyle/>
        <a:p>
          <a:endParaRPr lang="en-GB"/>
        </a:p>
      </dgm:t>
    </dgm:pt>
    <dgm:pt modelId="{83748B15-655A-499E-AE97-5681E3B432E2}" type="pres">
      <dgm:prSet presAssocID="{D7DA8A9C-B74A-4C3A-AD78-6C36C357F04B}" presName="parentText" presStyleLbl="node1" presStyleIdx="0" presStyleCnt="3" custScaleX="82706">
        <dgm:presLayoutVars>
          <dgm:chMax val="1"/>
          <dgm:bulletEnabled val="1"/>
        </dgm:presLayoutVars>
      </dgm:prSet>
      <dgm:spPr>
        <a:prstGeom prst="rect">
          <a:avLst/>
        </a:prstGeom>
      </dgm:spPr>
      <dgm:t>
        <a:bodyPr/>
        <a:lstStyle/>
        <a:p>
          <a:endParaRPr lang="en-GB"/>
        </a:p>
      </dgm:t>
    </dgm:pt>
    <dgm:pt modelId="{2EF373FA-6663-41F2-8AD5-3B97D8CFCE65}" type="pres">
      <dgm:prSet presAssocID="{D7DA8A9C-B74A-4C3A-AD78-6C36C357F04B}" presName="descendantText" presStyleLbl="alignAccFollowNode1" presStyleIdx="0" presStyleCnt="3" custScaleX="109554">
        <dgm:presLayoutVars>
          <dgm:bulletEnabled val="1"/>
        </dgm:presLayoutVars>
      </dgm:prSet>
      <dgm:spPr/>
      <dgm:t>
        <a:bodyPr/>
        <a:lstStyle/>
        <a:p>
          <a:endParaRPr lang="en-GB"/>
        </a:p>
      </dgm:t>
    </dgm:pt>
    <dgm:pt modelId="{9A501643-933B-4B59-BE7E-7BEDD108F369}" type="pres">
      <dgm:prSet presAssocID="{D26CB386-EADB-46DD-A810-3B5E065B544B}" presName="sp" presStyleCnt="0"/>
      <dgm:spPr/>
      <dgm:t>
        <a:bodyPr/>
        <a:lstStyle/>
        <a:p>
          <a:endParaRPr lang="en-GB"/>
        </a:p>
      </dgm:t>
    </dgm:pt>
    <dgm:pt modelId="{ADBB9F80-6171-4CA3-87E9-2D802C6794F1}" type="pres">
      <dgm:prSet presAssocID="{0FF57511-BB3F-46A6-8D2B-57C95BDA6BC4}" presName="linNode" presStyleCnt="0"/>
      <dgm:spPr/>
    </dgm:pt>
    <dgm:pt modelId="{26E9E06C-FADB-44D1-A2A9-F661D35ABEE0}" type="pres">
      <dgm:prSet presAssocID="{0FF57511-BB3F-46A6-8D2B-57C95BDA6BC4}" presName="parentText" presStyleLbl="node1" presStyleIdx="1" presStyleCnt="3" custScaleX="82706">
        <dgm:presLayoutVars>
          <dgm:chMax val="1"/>
          <dgm:bulletEnabled val="1"/>
        </dgm:presLayoutVars>
      </dgm:prSet>
      <dgm:spPr>
        <a:prstGeom prst="rect">
          <a:avLst/>
        </a:prstGeom>
      </dgm:spPr>
      <dgm:t>
        <a:bodyPr/>
        <a:lstStyle/>
        <a:p>
          <a:endParaRPr lang="en-GB"/>
        </a:p>
      </dgm:t>
    </dgm:pt>
    <dgm:pt modelId="{2306E7C1-A194-4C64-9722-5BCA80DB670C}" type="pres">
      <dgm:prSet presAssocID="{0FF57511-BB3F-46A6-8D2B-57C95BDA6BC4}" presName="descendantText" presStyleLbl="alignAccFollowNode1" presStyleIdx="1" presStyleCnt="3" custScaleX="109554">
        <dgm:presLayoutVars>
          <dgm:bulletEnabled val="1"/>
        </dgm:presLayoutVars>
      </dgm:prSet>
      <dgm:spPr/>
      <dgm:t>
        <a:bodyPr/>
        <a:lstStyle/>
        <a:p>
          <a:endParaRPr lang="en-GB"/>
        </a:p>
      </dgm:t>
    </dgm:pt>
    <dgm:pt modelId="{4629E710-6296-4438-91B1-08D1BE194335}" type="pres">
      <dgm:prSet presAssocID="{FD89337D-382E-41D1-9AAF-BA1B567640B1}" presName="sp" presStyleCnt="0"/>
      <dgm:spPr/>
    </dgm:pt>
    <dgm:pt modelId="{40848C7B-99DD-4C84-9CC6-09F604622753}" type="pres">
      <dgm:prSet presAssocID="{634686A1-B34C-4F1A-A72C-C47FC5373159}" presName="linNode" presStyleCnt="0"/>
      <dgm:spPr/>
    </dgm:pt>
    <dgm:pt modelId="{69E5A299-B22F-472A-9D93-E2A612D5B234}" type="pres">
      <dgm:prSet presAssocID="{634686A1-B34C-4F1A-A72C-C47FC5373159}" presName="parentText" presStyleLbl="node1" presStyleIdx="2" presStyleCnt="3" custScaleX="82706">
        <dgm:presLayoutVars>
          <dgm:chMax val="1"/>
          <dgm:bulletEnabled val="1"/>
        </dgm:presLayoutVars>
      </dgm:prSet>
      <dgm:spPr>
        <a:prstGeom prst="rect">
          <a:avLst/>
        </a:prstGeom>
      </dgm:spPr>
      <dgm:t>
        <a:bodyPr/>
        <a:lstStyle/>
        <a:p>
          <a:endParaRPr lang="en-GB"/>
        </a:p>
      </dgm:t>
    </dgm:pt>
    <dgm:pt modelId="{0CC7DE73-D248-4981-8FFC-35CBFA79EA23}" type="pres">
      <dgm:prSet presAssocID="{634686A1-B34C-4F1A-A72C-C47FC5373159}" presName="descendantText" presStyleLbl="alignAccFollowNode1" presStyleIdx="2" presStyleCnt="3" custScaleX="109554">
        <dgm:presLayoutVars>
          <dgm:bulletEnabled val="1"/>
        </dgm:presLayoutVars>
      </dgm:prSet>
      <dgm:spPr/>
      <dgm:t>
        <a:bodyPr/>
        <a:lstStyle/>
        <a:p>
          <a:endParaRPr lang="en-GB"/>
        </a:p>
      </dgm:t>
    </dgm:pt>
  </dgm:ptLst>
  <dgm:cxnLst>
    <dgm:cxn modelId="{1370040D-F7D4-4E76-A51C-0A5FA85BAC2A}" type="presOf" srcId="{ACA58C29-1FB7-46BD-8FCD-C059814EA806}" destId="{1706579A-5649-46BA-B4EB-E6BA60D69482}" srcOrd="0" destOrd="0" presId="urn:microsoft.com/office/officeart/2005/8/layout/vList5"/>
    <dgm:cxn modelId="{D4074705-B40E-45A3-807B-C0F84E7CE1EF}" type="presOf" srcId="{C3F33732-8F9B-4423-9D85-F1351ADA3360}" destId="{2306E7C1-A194-4C64-9722-5BCA80DB670C}" srcOrd="0" destOrd="1" presId="urn:microsoft.com/office/officeart/2005/8/layout/vList5"/>
    <dgm:cxn modelId="{E3863CF2-18DB-4A87-A711-2DCDCD87FF3A}" srcId="{D7DA8A9C-B74A-4C3A-AD78-6C36C357F04B}" destId="{EA2DBF03-2702-429D-8826-98D3799646E1}" srcOrd="1" destOrd="0" parTransId="{3B55B877-90D7-4BF2-9BE3-611E66BD86C3}" sibTransId="{34E58C6A-7651-4FE0-ABF5-7CB79EB3C0E2}"/>
    <dgm:cxn modelId="{70BEDD73-1694-49A9-AC75-E46680BC0DBD}" srcId="{634686A1-B34C-4F1A-A72C-C47FC5373159}" destId="{4614166E-C338-4BBA-B1BE-4B76551B3659}" srcOrd="0" destOrd="0" parTransId="{D0C5E6F3-B9A7-465D-BB3F-F66BB1613035}" sibTransId="{E6A2DCC2-9947-48A8-A433-0D8A7D13CDE6}"/>
    <dgm:cxn modelId="{F748F3D0-166D-466C-9ADC-3AA6EFA2C74C}" srcId="{D7DA8A9C-B74A-4C3A-AD78-6C36C357F04B}" destId="{A6D7B0E6-696C-4E48-BAF6-3F555EAADD73}" srcOrd="0" destOrd="0" parTransId="{C6B19DBB-E21A-42D7-9120-8D1647B485FA}" sibTransId="{3E007CC9-F220-47A3-A82B-1D900E0D396D}"/>
    <dgm:cxn modelId="{0D6072DA-4A92-4A38-B060-F54AD9615378}" type="presOf" srcId="{A6D7B0E6-696C-4E48-BAF6-3F555EAADD73}" destId="{2EF373FA-6663-41F2-8AD5-3B97D8CFCE65}" srcOrd="0" destOrd="0" presId="urn:microsoft.com/office/officeart/2005/8/layout/vList5"/>
    <dgm:cxn modelId="{CF9D374C-9B49-40BE-8032-4EB655440593}" type="presOf" srcId="{0FF57511-BB3F-46A6-8D2B-57C95BDA6BC4}" destId="{26E9E06C-FADB-44D1-A2A9-F661D35ABEE0}" srcOrd="0" destOrd="0" presId="urn:microsoft.com/office/officeart/2005/8/layout/vList5"/>
    <dgm:cxn modelId="{CDE673EB-12B0-4FE0-98D9-699DD07F0A80}" srcId="{ACA58C29-1FB7-46BD-8FCD-C059814EA806}" destId="{634686A1-B34C-4F1A-A72C-C47FC5373159}" srcOrd="2" destOrd="0" parTransId="{876BE6E8-2A4C-400E-9CB9-BBF02FC9495A}" sibTransId="{FE147122-0D03-4FAB-B46F-12D82DB7B7EF}"/>
    <dgm:cxn modelId="{D177272D-8D83-4CD7-8C04-0EE3E077D4DA}" srcId="{634686A1-B34C-4F1A-A72C-C47FC5373159}" destId="{8076D088-C360-4911-9E73-CFB747EAEC6B}" srcOrd="2" destOrd="0" parTransId="{E9CFCBE9-C345-45F4-A8D5-31B806AC4371}" sibTransId="{116781A6-2AB9-4920-9E4D-917C65DA4983}"/>
    <dgm:cxn modelId="{DA261F80-D26C-4007-BE97-CCF2C841086E}" type="presOf" srcId="{F392F6DB-1B43-4D06-83BD-A6A88A61A29E}" destId="{2306E7C1-A194-4C64-9722-5BCA80DB670C}" srcOrd="0" destOrd="0" presId="urn:microsoft.com/office/officeart/2005/8/layout/vList5"/>
    <dgm:cxn modelId="{97C2F684-EB8B-49D9-B40C-050EDEDC811C}" type="presOf" srcId="{D7DA8A9C-B74A-4C3A-AD78-6C36C357F04B}" destId="{83748B15-655A-499E-AE97-5681E3B432E2}" srcOrd="0" destOrd="0" presId="urn:microsoft.com/office/officeart/2005/8/layout/vList5"/>
    <dgm:cxn modelId="{94CEA573-0236-4AC5-98AC-845887DAAF99}" type="presOf" srcId="{8076D088-C360-4911-9E73-CFB747EAEC6B}" destId="{0CC7DE73-D248-4981-8FFC-35CBFA79EA23}" srcOrd="0" destOrd="2" presId="urn:microsoft.com/office/officeart/2005/8/layout/vList5"/>
    <dgm:cxn modelId="{D139D22C-8CAE-4F17-862E-D3A7C352F207}" type="presOf" srcId="{1606D6BB-C3FF-448E-B901-87FA33E622A5}" destId="{0CC7DE73-D248-4981-8FFC-35CBFA79EA23}" srcOrd="0" destOrd="1" presId="urn:microsoft.com/office/officeart/2005/8/layout/vList5"/>
    <dgm:cxn modelId="{93ECB69D-933F-4BD8-A94A-FEA4CB7A4A07}" type="presOf" srcId="{4614166E-C338-4BBA-B1BE-4B76551B3659}" destId="{0CC7DE73-D248-4981-8FFC-35CBFA79EA23}" srcOrd="0" destOrd="0" presId="urn:microsoft.com/office/officeart/2005/8/layout/vList5"/>
    <dgm:cxn modelId="{0509509D-0A8D-4573-9F12-7AC57F144B51}" srcId="{0FF57511-BB3F-46A6-8D2B-57C95BDA6BC4}" destId="{F392F6DB-1B43-4D06-83BD-A6A88A61A29E}" srcOrd="0" destOrd="0" parTransId="{BF161629-1636-4982-8D12-F805457960E9}" sibTransId="{770A7B33-4CDA-4F04-97BB-1AA4B113EB8B}"/>
    <dgm:cxn modelId="{3C04BD3D-DA77-40C5-A7C7-A717F5BA7367}" type="presOf" srcId="{EA2DBF03-2702-429D-8826-98D3799646E1}" destId="{2EF373FA-6663-41F2-8AD5-3B97D8CFCE65}" srcOrd="0" destOrd="1" presId="urn:microsoft.com/office/officeart/2005/8/layout/vList5"/>
    <dgm:cxn modelId="{618B7593-C8F6-4167-B80B-8E59E767BFA5}" srcId="{ACA58C29-1FB7-46BD-8FCD-C059814EA806}" destId="{D7DA8A9C-B74A-4C3A-AD78-6C36C357F04B}" srcOrd="0" destOrd="0" parTransId="{7E72F7B3-C3B2-47EE-B0D3-775ED62011A8}" sibTransId="{D26CB386-EADB-46DD-A810-3B5E065B544B}"/>
    <dgm:cxn modelId="{8297AD2E-E4C4-43AA-BF3A-004CE216B65F}" srcId="{0FF57511-BB3F-46A6-8D2B-57C95BDA6BC4}" destId="{C3F33732-8F9B-4423-9D85-F1351ADA3360}" srcOrd="1" destOrd="0" parTransId="{5FCE5D19-C4B6-4A25-9009-21727CB9B47F}" sibTransId="{AB5D9EFF-E79E-4F52-9A6A-21E62BE9D563}"/>
    <dgm:cxn modelId="{EDF11E2A-8156-4601-9E65-A3CF728FB7E3}" type="presOf" srcId="{634686A1-B34C-4F1A-A72C-C47FC5373159}" destId="{69E5A299-B22F-472A-9D93-E2A612D5B234}" srcOrd="0" destOrd="0" presId="urn:microsoft.com/office/officeart/2005/8/layout/vList5"/>
    <dgm:cxn modelId="{C3A5A2E7-FC70-460C-BA9A-15792C93A4C1}" srcId="{634686A1-B34C-4F1A-A72C-C47FC5373159}" destId="{1606D6BB-C3FF-448E-B901-87FA33E622A5}" srcOrd="1" destOrd="0" parTransId="{8F285383-2B82-4572-9F56-0D16DFCD0B43}" sibTransId="{4C48CD73-13BC-4B2E-85A1-04D561095816}"/>
    <dgm:cxn modelId="{617772E0-AFD8-4228-BD5C-E791F174DB41}" srcId="{ACA58C29-1FB7-46BD-8FCD-C059814EA806}" destId="{0FF57511-BB3F-46A6-8D2B-57C95BDA6BC4}" srcOrd="1" destOrd="0" parTransId="{D4456DE9-2308-4B22-88DE-F9E1A9109337}" sibTransId="{FD89337D-382E-41D1-9AAF-BA1B567640B1}"/>
    <dgm:cxn modelId="{7C6A07AA-43FC-439A-9B29-660C7E7167FB}" type="presParOf" srcId="{1706579A-5649-46BA-B4EB-E6BA60D69482}" destId="{DAA31EEC-5CA6-4410-86D5-6C0A4C791767}" srcOrd="0" destOrd="0" presId="urn:microsoft.com/office/officeart/2005/8/layout/vList5"/>
    <dgm:cxn modelId="{48E80BB6-A93F-4EC5-A827-523665FA1A77}" type="presParOf" srcId="{DAA31EEC-5CA6-4410-86D5-6C0A4C791767}" destId="{83748B15-655A-499E-AE97-5681E3B432E2}" srcOrd="0" destOrd="0" presId="urn:microsoft.com/office/officeart/2005/8/layout/vList5"/>
    <dgm:cxn modelId="{3E4781E3-58CC-4075-AE6F-13D764B2EED4}" type="presParOf" srcId="{DAA31EEC-5CA6-4410-86D5-6C0A4C791767}" destId="{2EF373FA-6663-41F2-8AD5-3B97D8CFCE65}" srcOrd="1" destOrd="0" presId="urn:microsoft.com/office/officeart/2005/8/layout/vList5"/>
    <dgm:cxn modelId="{8DC4882B-0B96-4542-9BC2-1384E886A2AB}" type="presParOf" srcId="{1706579A-5649-46BA-B4EB-E6BA60D69482}" destId="{9A501643-933B-4B59-BE7E-7BEDD108F369}" srcOrd="1" destOrd="0" presId="urn:microsoft.com/office/officeart/2005/8/layout/vList5"/>
    <dgm:cxn modelId="{5B838312-F1CF-428B-853E-088BC7822F5D}" type="presParOf" srcId="{1706579A-5649-46BA-B4EB-E6BA60D69482}" destId="{ADBB9F80-6171-4CA3-87E9-2D802C6794F1}" srcOrd="2" destOrd="0" presId="urn:microsoft.com/office/officeart/2005/8/layout/vList5"/>
    <dgm:cxn modelId="{239E40F3-6D83-4630-A2E6-DC07C7C5DF12}" type="presParOf" srcId="{ADBB9F80-6171-4CA3-87E9-2D802C6794F1}" destId="{26E9E06C-FADB-44D1-A2A9-F661D35ABEE0}" srcOrd="0" destOrd="0" presId="urn:microsoft.com/office/officeart/2005/8/layout/vList5"/>
    <dgm:cxn modelId="{7B32B41C-0CD4-4D94-AFBA-05205937478B}" type="presParOf" srcId="{ADBB9F80-6171-4CA3-87E9-2D802C6794F1}" destId="{2306E7C1-A194-4C64-9722-5BCA80DB670C}" srcOrd="1" destOrd="0" presId="urn:microsoft.com/office/officeart/2005/8/layout/vList5"/>
    <dgm:cxn modelId="{BB6B35E4-552F-46CA-9C6D-982925CD19F4}" type="presParOf" srcId="{1706579A-5649-46BA-B4EB-E6BA60D69482}" destId="{4629E710-6296-4438-91B1-08D1BE194335}" srcOrd="3" destOrd="0" presId="urn:microsoft.com/office/officeart/2005/8/layout/vList5"/>
    <dgm:cxn modelId="{F18FE093-A295-4C66-BAAD-6B1550C61EC8}" type="presParOf" srcId="{1706579A-5649-46BA-B4EB-E6BA60D69482}" destId="{40848C7B-99DD-4C84-9CC6-09F604622753}" srcOrd="4" destOrd="0" presId="urn:microsoft.com/office/officeart/2005/8/layout/vList5"/>
    <dgm:cxn modelId="{0438E7B5-9A0A-4662-B670-5D35650DF42D}" type="presParOf" srcId="{40848C7B-99DD-4C84-9CC6-09F604622753}" destId="{69E5A299-B22F-472A-9D93-E2A612D5B234}" srcOrd="0" destOrd="0" presId="urn:microsoft.com/office/officeart/2005/8/layout/vList5"/>
    <dgm:cxn modelId="{FD6ECB68-0A06-46E4-A33C-89E88C7B9543}" type="presParOf" srcId="{40848C7B-99DD-4C84-9CC6-09F604622753}" destId="{0CC7DE73-D248-4981-8FFC-35CBFA79EA2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985213" y="-2838761"/>
          <a:ext cx="1145040"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GB" sz="2400" kern="1200" dirty="0"/>
            <a:t>Required to produce “R Best Practice” document</a:t>
          </a:r>
        </a:p>
        <a:p>
          <a:pPr marL="228600" lvl="1" indent="-228600" algn="l" defTabSz="1066800">
            <a:lnSpc>
              <a:spcPct val="90000"/>
            </a:lnSpc>
            <a:spcBef>
              <a:spcPct val="0"/>
            </a:spcBef>
            <a:spcAft>
              <a:spcPct val="15000"/>
            </a:spcAft>
            <a:buChar char="••"/>
          </a:pPr>
          <a:r>
            <a:rPr lang="en-GB" sz="2400" kern="1200" dirty="0"/>
            <a:t>Will be assessed against it in the future</a:t>
          </a:r>
        </a:p>
      </dsp:txBody>
      <dsp:txXfrm rot="-5400000">
        <a:off x="4001153" y="201195"/>
        <a:ext cx="7057264" cy="1033248"/>
      </dsp:txXfrm>
    </dsp:sp>
    <dsp:sp modelId="{83748B15-655A-499E-AE97-5681E3B432E2}">
      <dsp:nvSpPr>
        <dsp:cNvPr id="0" name=""/>
        <dsp:cNvSpPr/>
      </dsp:nvSpPr>
      <dsp:spPr>
        <a:xfrm>
          <a:off x="0" y="2168"/>
          <a:ext cx="400115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Internal Data </a:t>
          </a:r>
          <a:r>
            <a:rPr lang="en-GB" sz="2800" kern="1200" dirty="0"/>
            <a:t>Audit</a:t>
          </a:r>
        </a:p>
      </dsp:txBody>
      <dsp:txXfrm>
        <a:off x="0" y="2168"/>
        <a:ext cx="4001153" cy="1431301"/>
      </dsp:txXfrm>
    </dsp:sp>
    <dsp:sp modelId="{514860EF-17B3-4B1D-A546-DDD9AF61526D}">
      <dsp:nvSpPr>
        <dsp:cNvPr id="0" name=""/>
        <dsp:cNvSpPr/>
      </dsp:nvSpPr>
      <dsp:spPr>
        <a:xfrm rot="5400000">
          <a:off x="6985213" y="-1335894"/>
          <a:ext cx="1145040"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GB" sz="2400" kern="1200" dirty="0"/>
            <a:t>Current </a:t>
          </a:r>
          <a:r>
            <a:rPr lang="en-GB" sz="2400" kern="1200" dirty="0" smtClean="0"/>
            <a:t>standards need </a:t>
          </a:r>
          <a:r>
            <a:rPr lang="en-GB" sz="2400" kern="1200" dirty="0"/>
            <a:t>revising (DSG)</a:t>
          </a:r>
        </a:p>
        <a:p>
          <a:pPr marL="228600" lvl="1" indent="-228600" algn="l" defTabSz="1066800">
            <a:lnSpc>
              <a:spcPct val="90000"/>
            </a:lnSpc>
            <a:spcBef>
              <a:spcPct val="0"/>
            </a:spcBef>
            <a:spcAft>
              <a:spcPct val="15000"/>
            </a:spcAft>
            <a:buChar char="••"/>
          </a:pPr>
          <a:r>
            <a:rPr lang="en-GB" sz="2400" kern="1200" dirty="0"/>
            <a:t>Produce </a:t>
          </a:r>
          <a:r>
            <a:rPr lang="en-GB" sz="2400" kern="1200" dirty="0" smtClean="0"/>
            <a:t>practical and pragmatic </a:t>
          </a:r>
          <a:r>
            <a:rPr lang="en-GB" sz="2400" kern="1200" dirty="0"/>
            <a:t>standards</a:t>
          </a:r>
        </a:p>
      </dsp:txBody>
      <dsp:txXfrm rot="-5400000">
        <a:off x="4001153" y="1704062"/>
        <a:ext cx="7057264" cy="1033248"/>
      </dsp:txXfrm>
    </dsp:sp>
    <dsp:sp modelId="{9CE3A155-4E42-49E9-BF57-D3B064BA681F}">
      <dsp:nvSpPr>
        <dsp:cNvPr id="0" name=""/>
        <dsp:cNvSpPr/>
      </dsp:nvSpPr>
      <dsp:spPr>
        <a:xfrm>
          <a:off x="0" y="1505034"/>
          <a:ext cx="400115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End-User </a:t>
          </a:r>
          <a:r>
            <a:rPr lang="en-GB" sz="2800" kern="1200" dirty="0" smtClean="0"/>
            <a:t>Computing Standards</a:t>
          </a:r>
          <a:endParaRPr lang="en-GB" sz="2800" kern="1200" dirty="0"/>
        </a:p>
      </dsp:txBody>
      <dsp:txXfrm>
        <a:off x="0" y="1505034"/>
        <a:ext cx="4001153" cy="1431301"/>
      </dsp:txXfrm>
    </dsp:sp>
    <dsp:sp modelId="{C373A146-BA82-4B1B-A21A-D833FD5DE1D4}">
      <dsp:nvSpPr>
        <dsp:cNvPr id="0" name=""/>
        <dsp:cNvSpPr/>
      </dsp:nvSpPr>
      <dsp:spPr>
        <a:xfrm rot="5400000">
          <a:off x="6985213" y="166971"/>
          <a:ext cx="1145040"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GB" sz="2400" kern="1200" dirty="0"/>
            <a:t>Reduce time to understand / change code</a:t>
          </a:r>
        </a:p>
        <a:p>
          <a:pPr marL="228600" lvl="1" indent="-228600" algn="l" defTabSz="1066800">
            <a:lnSpc>
              <a:spcPct val="90000"/>
            </a:lnSpc>
            <a:spcBef>
              <a:spcPct val="0"/>
            </a:spcBef>
            <a:spcAft>
              <a:spcPct val="15000"/>
            </a:spcAft>
            <a:buChar char="••"/>
          </a:pPr>
          <a:r>
            <a:rPr lang="en-GB" sz="2400" kern="1200" dirty="0"/>
            <a:t>Reduce dependence on individuals</a:t>
          </a:r>
        </a:p>
      </dsp:txBody>
      <dsp:txXfrm rot="-5400000">
        <a:off x="4001153" y="3206927"/>
        <a:ext cx="7057264" cy="1033248"/>
      </dsp:txXfrm>
    </dsp:sp>
    <dsp:sp modelId="{7BA21780-1FAC-4367-B907-FEF18D038307}">
      <dsp:nvSpPr>
        <dsp:cNvPr id="0" name=""/>
        <dsp:cNvSpPr/>
      </dsp:nvSpPr>
      <dsp:spPr>
        <a:xfrm>
          <a:off x="0" y="3007901"/>
          <a:ext cx="400115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a:t>Team Efficiency</a:t>
          </a:r>
        </a:p>
      </dsp:txBody>
      <dsp:txXfrm>
        <a:off x="0" y="3007901"/>
        <a:ext cx="4001153" cy="14313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7216389" y="-3127949"/>
          <a:ext cx="682687"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smtClean="0"/>
            <a:t>Help other users use the code</a:t>
          </a:r>
          <a:endParaRPr lang="en-GB" sz="2000" kern="1200" dirty="0"/>
        </a:p>
        <a:p>
          <a:pPr marL="228600" lvl="1" indent="-228600" algn="l" defTabSz="889000">
            <a:lnSpc>
              <a:spcPct val="90000"/>
            </a:lnSpc>
            <a:spcBef>
              <a:spcPct val="0"/>
            </a:spcBef>
            <a:spcAft>
              <a:spcPct val="15000"/>
            </a:spcAft>
            <a:buChar char="••"/>
          </a:pPr>
          <a:r>
            <a:rPr lang="en-GB" sz="2000" kern="1200" dirty="0" smtClean="0"/>
            <a:t>Ease future development</a:t>
          </a:r>
          <a:endParaRPr lang="en-GB" sz="2000" kern="1200" dirty="0"/>
        </a:p>
      </dsp:txBody>
      <dsp:txXfrm rot="-5400000">
        <a:off x="4001153" y="120613"/>
        <a:ext cx="7079834" cy="616035"/>
      </dsp:txXfrm>
    </dsp:sp>
    <dsp:sp modelId="{83748B15-655A-499E-AE97-5681E3B432E2}">
      <dsp:nvSpPr>
        <dsp:cNvPr id="0" name=""/>
        <dsp:cNvSpPr/>
      </dsp:nvSpPr>
      <dsp:spPr>
        <a:xfrm>
          <a:off x="0" y="1951"/>
          <a:ext cx="4001153" cy="853359"/>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Documentation</a:t>
          </a:r>
          <a:endParaRPr lang="en-GB" sz="2800" kern="1200" dirty="0"/>
        </a:p>
      </dsp:txBody>
      <dsp:txXfrm>
        <a:off x="0" y="1951"/>
        <a:ext cx="4001153" cy="853359"/>
      </dsp:txXfrm>
    </dsp:sp>
    <dsp:sp modelId="{514860EF-17B3-4B1D-A546-DDD9AF61526D}">
      <dsp:nvSpPr>
        <dsp:cNvPr id="0" name=""/>
        <dsp:cNvSpPr/>
      </dsp:nvSpPr>
      <dsp:spPr>
        <a:xfrm rot="5400000">
          <a:off x="7216389" y="-2231922"/>
          <a:ext cx="682687"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smtClean="0"/>
            <a:t>Proof the code works</a:t>
          </a:r>
          <a:endParaRPr lang="en-GB" sz="2000" kern="1200" dirty="0"/>
        </a:p>
        <a:p>
          <a:pPr marL="228600" lvl="1" indent="-228600" algn="l" defTabSz="889000">
            <a:lnSpc>
              <a:spcPct val="90000"/>
            </a:lnSpc>
            <a:spcBef>
              <a:spcPct val="0"/>
            </a:spcBef>
            <a:spcAft>
              <a:spcPct val="15000"/>
            </a:spcAft>
            <a:buChar char="••"/>
          </a:pPr>
          <a:r>
            <a:rPr lang="en-GB" sz="2000" kern="1200" dirty="0" smtClean="0"/>
            <a:t>Test future changes</a:t>
          </a:r>
          <a:endParaRPr lang="en-GB" sz="2000" kern="1200" dirty="0"/>
        </a:p>
      </dsp:txBody>
      <dsp:txXfrm rot="-5400000">
        <a:off x="4001153" y="1016640"/>
        <a:ext cx="7079834" cy="616035"/>
      </dsp:txXfrm>
    </dsp:sp>
    <dsp:sp modelId="{9CE3A155-4E42-49E9-BF57-D3B064BA681F}">
      <dsp:nvSpPr>
        <dsp:cNvPr id="0" name=""/>
        <dsp:cNvSpPr/>
      </dsp:nvSpPr>
      <dsp:spPr>
        <a:xfrm>
          <a:off x="0" y="897978"/>
          <a:ext cx="4001153" cy="853359"/>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Testing</a:t>
          </a:r>
          <a:endParaRPr lang="en-GB" sz="2800" kern="1200" dirty="0"/>
        </a:p>
      </dsp:txBody>
      <dsp:txXfrm>
        <a:off x="0" y="897978"/>
        <a:ext cx="4001153" cy="853359"/>
      </dsp:txXfrm>
    </dsp:sp>
    <dsp:sp modelId="{C373A146-BA82-4B1B-A21A-D833FD5DE1D4}">
      <dsp:nvSpPr>
        <dsp:cNvPr id="0" name=""/>
        <dsp:cNvSpPr/>
      </dsp:nvSpPr>
      <dsp:spPr>
        <a:xfrm rot="5400000">
          <a:off x="7216389" y="-1335894"/>
          <a:ext cx="682687" cy="7113160"/>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smtClean="0"/>
            <a:t>Other users get the same results</a:t>
          </a:r>
          <a:endParaRPr lang="en-GB" sz="2000" kern="1200" dirty="0"/>
        </a:p>
        <a:p>
          <a:pPr marL="228600" lvl="1" indent="-228600" algn="l" defTabSz="889000">
            <a:lnSpc>
              <a:spcPct val="90000"/>
            </a:lnSpc>
            <a:spcBef>
              <a:spcPct val="0"/>
            </a:spcBef>
            <a:spcAft>
              <a:spcPct val="15000"/>
            </a:spcAft>
            <a:buChar char="••"/>
          </a:pPr>
          <a:r>
            <a:rPr lang="en-GB" sz="2000" kern="1200" dirty="0" smtClean="0"/>
            <a:t>Audit what was done, by whom and when</a:t>
          </a:r>
          <a:endParaRPr lang="en-GB" sz="2000" kern="1200" dirty="0"/>
        </a:p>
      </dsp:txBody>
      <dsp:txXfrm rot="-5400000">
        <a:off x="4001153" y="1912668"/>
        <a:ext cx="7079834" cy="616035"/>
      </dsp:txXfrm>
    </dsp:sp>
    <dsp:sp modelId="{7BA21780-1FAC-4367-B907-FEF18D038307}">
      <dsp:nvSpPr>
        <dsp:cNvPr id="0" name=""/>
        <dsp:cNvSpPr/>
      </dsp:nvSpPr>
      <dsp:spPr>
        <a:xfrm>
          <a:off x="0" y="1794005"/>
          <a:ext cx="4001153" cy="853359"/>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Reproducibility</a:t>
          </a:r>
        </a:p>
      </dsp:txBody>
      <dsp:txXfrm>
        <a:off x="0" y="1794005"/>
        <a:ext cx="4001153" cy="853359"/>
      </dsp:txXfrm>
    </dsp:sp>
    <dsp:sp modelId="{7081E6C7-07E7-4844-B563-AAB771FB1B67}">
      <dsp:nvSpPr>
        <dsp:cNvPr id="0" name=""/>
        <dsp:cNvSpPr/>
      </dsp:nvSpPr>
      <dsp:spPr>
        <a:xfrm rot="5400000">
          <a:off x="7216389" y="-439867"/>
          <a:ext cx="682687" cy="7113160"/>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smtClean="0"/>
            <a:t>Record changes and reason</a:t>
          </a:r>
          <a:endParaRPr lang="en-GB" sz="2000" kern="1200" dirty="0"/>
        </a:p>
        <a:p>
          <a:pPr marL="228600" lvl="1" indent="-228600" algn="l" defTabSz="889000">
            <a:lnSpc>
              <a:spcPct val="90000"/>
            </a:lnSpc>
            <a:spcBef>
              <a:spcPct val="0"/>
            </a:spcBef>
            <a:spcAft>
              <a:spcPct val="15000"/>
            </a:spcAft>
            <a:buChar char="••"/>
          </a:pPr>
          <a:r>
            <a:rPr lang="en-GB" sz="2000" kern="1200" dirty="0" smtClean="0"/>
            <a:t>Proposed, review and approve changes</a:t>
          </a:r>
          <a:endParaRPr lang="en-GB" sz="2000" kern="1200" dirty="0"/>
        </a:p>
      </dsp:txBody>
      <dsp:txXfrm rot="-5400000">
        <a:off x="4001153" y="2808695"/>
        <a:ext cx="7079834" cy="616035"/>
      </dsp:txXfrm>
    </dsp:sp>
    <dsp:sp modelId="{5D41022F-723C-46B6-B845-1632F91BE319}">
      <dsp:nvSpPr>
        <dsp:cNvPr id="0" name=""/>
        <dsp:cNvSpPr/>
      </dsp:nvSpPr>
      <dsp:spPr>
        <a:xfrm>
          <a:off x="0" y="2690033"/>
          <a:ext cx="4001153" cy="853359"/>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Change Control</a:t>
          </a:r>
          <a:endParaRPr lang="en-GB" sz="2800" kern="1200" dirty="0"/>
        </a:p>
      </dsp:txBody>
      <dsp:txXfrm>
        <a:off x="0" y="2690033"/>
        <a:ext cx="4001153" cy="853359"/>
      </dsp:txXfrm>
    </dsp:sp>
    <dsp:sp modelId="{560A84CE-650C-460A-B970-47E98E295324}">
      <dsp:nvSpPr>
        <dsp:cNvPr id="0" name=""/>
        <dsp:cNvSpPr/>
      </dsp:nvSpPr>
      <dsp:spPr>
        <a:xfrm rot="5400000">
          <a:off x="7216389" y="456159"/>
          <a:ext cx="682687" cy="7113160"/>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smtClean="0"/>
            <a:t>Control who has access</a:t>
          </a:r>
          <a:endParaRPr lang="en-GB" sz="2000" kern="1200" dirty="0"/>
        </a:p>
        <a:p>
          <a:pPr marL="228600" lvl="1" indent="-228600" algn="l" defTabSz="889000">
            <a:lnSpc>
              <a:spcPct val="90000"/>
            </a:lnSpc>
            <a:spcBef>
              <a:spcPct val="0"/>
            </a:spcBef>
            <a:spcAft>
              <a:spcPct val="15000"/>
            </a:spcAft>
            <a:buChar char="••"/>
          </a:pPr>
          <a:r>
            <a:rPr lang="en-GB" sz="2000" kern="1200" dirty="0" smtClean="0"/>
            <a:t>Disaster recovery</a:t>
          </a:r>
          <a:endParaRPr lang="en-GB" sz="2000" kern="1200" dirty="0"/>
        </a:p>
      </dsp:txBody>
      <dsp:txXfrm rot="-5400000">
        <a:off x="4001153" y="3704721"/>
        <a:ext cx="7079834" cy="616035"/>
      </dsp:txXfrm>
    </dsp:sp>
    <dsp:sp modelId="{86BD4A42-F110-4F93-9863-FA1DE4747C8E}">
      <dsp:nvSpPr>
        <dsp:cNvPr id="0" name=""/>
        <dsp:cNvSpPr/>
      </dsp:nvSpPr>
      <dsp:spPr>
        <a:xfrm>
          <a:off x="0" y="3586060"/>
          <a:ext cx="4001153" cy="853359"/>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Access Control</a:t>
          </a:r>
          <a:endParaRPr lang="en-GB" sz="2800" kern="1200" dirty="0"/>
        </a:p>
      </dsp:txBody>
      <dsp:txXfrm>
        <a:off x="0" y="3586060"/>
        <a:ext cx="4001153" cy="8533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639233" y="-3178556"/>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accent1"/>
              </a:solidFill>
            </a:rPr>
            <a:t>Name: </a:t>
          </a:r>
          <a:r>
            <a:rPr lang="en-US" sz="1800" kern="1200" dirty="0" smtClean="0"/>
            <a:t>The name of the project, analysis or application.</a:t>
          </a:r>
          <a:endParaRPr lang="en-GB" sz="1800" kern="1200" dirty="0"/>
        </a:p>
        <a:p>
          <a:pPr marL="171450" lvl="1" indent="-171450" algn="l" defTabSz="800100">
            <a:lnSpc>
              <a:spcPct val="90000"/>
            </a:lnSpc>
            <a:spcBef>
              <a:spcPct val="0"/>
            </a:spcBef>
            <a:spcAft>
              <a:spcPct val="15000"/>
            </a:spcAft>
            <a:buChar char="••"/>
          </a:pPr>
          <a:r>
            <a:rPr lang="en-US" sz="1800" kern="1200" dirty="0" smtClean="0">
              <a:solidFill>
                <a:schemeClr val="accent1"/>
              </a:solidFill>
            </a:rPr>
            <a:t>Description: </a:t>
          </a:r>
          <a:r>
            <a:rPr lang="en-US" sz="1800" kern="1200" dirty="0" smtClean="0"/>
            <a:t>A brief description of of what the code does (not how).</a:t>
          </a:r>
          <a:endParaRPr lang="en-GB" sz="1800" kern="1200" dirty="0" smtClean="0"/>
        </a:p>
        <a:p>
          <a:pPr marL="171450" lvl="1" indent="-171450" algn="l" defTabSz="800100">
            <a:lnSpc>
              <a:spcPct val="90000"/>
            </a:lnSpc>
            <a:spcBef>
              <a:spcPct val="0"/>
            </a:spcBef>
            <a:spcAft>
              <a:spcPct val="15000"/>
            </a:spcAft>
            <a:buChar char="••"/>
          </a:pPr>
          <a:r>
            <a:rPr lang="en-US" sz="1800" kern="1200" dirty="0" smtClean="0">
              <a:solidFill>
                <a:schemeClr val="accent1"/>
              </a:solidFill>
            </a:rPr>
            <a:t>Purpose: </a:t>
          </a:r>
          <a:r>
            <a:rPr lang="en-US" sz="1800" kern="1200" dirty="0" smtClean="0"/>
            <a:t>The reason for writing the code.</a:t>
          </a:r>
          <a:endParaRPr lang="en-GB" sz="1800" kern="1200" dirty="0" smtClean="0"/>
        </a:p>
        <a:p>
          <a:pPr marL="171450" lvl="1" indent="-171450" algn="l" defTabSz="800100">
            <a:lnSpc>
              <a:spcPct val="90000"/>
            </a:lnSpc>
            <a:spcBef>
              <a:spcPct val="0"/>
            </a:spcBef>
            <a:spcAft>
              <a:spcPct val="15000"/>
            </a:spcAft>
            <a:buChar char="••"/>
          </a:pPr>
          <a:r>
            <a:rPr lang="en-US" sz="1800" kern="1200" dirty="0" smtClean="0">
              <a:solidFill>
                <a:schemeClr val="accent1"/>
              </a:solidFill>
            </a:rPr>
            <a:t>Instructions: </a:t>
          </a:r>
          <a:r>
            <a:rPr lang="en-US" sz="1800" kern="1200" dirty="0" smtClean="0"/>
            <a:t>How to use the code - for the benefit of other users.</a:t>
          </a:r>
          <a:endParaRPr lang="en-GB" sz="1800" kern="1200" dirty="0" smtClean="0"/>
        </a:p>
      </dsp:txBody>
      <dsp:txXfrm rot="-5400000">
        <a:off x="3315377" y="201196"/>
        <a:ext cx="7736856" cy="1033248"/>
      </dsp:txXfrm>
    </dsp:sp>
    <dsp:sp modelId="{83748B15-655A-499E-AE97-5681E3B432E2}">
      <dsp:nvSpPr>
        <dsp:cNvPr id="0" name=""/>
        <dsp:cNvSpPr/>
      </dsp:nvSpPr>
      <dsp:spPr>
        <a:xfrm>
          <a:off x="6184" y="2168"/>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Minimum</a:t>
          </a:r>
          <a:endParaRPr lang="en-GB" sz="2800" kern="1200" dirty="0"/>
        </a:p>
      </dsp:txBody>
      <dsp:txXfrm>
        <a:off x="6184" y="2168"/>
        <a:ext cx="3309193" cy="1431301"/>
      </dsp:txXfrm>
    </dsp:sp>
    <dsp:sp modelId="{2306E7C1-A194-4C64-9722-5BCA80DB670C}">
      <dsp:nvSpPr>
        <dsp:cNvPr id="0" name=""/>
        <dsp:cNvSpPr/>
      </dsp:nvSpPr>
      <dsp:spPr>
        <a:xfrm rot="5400000">
          <a:off x="6639233" y="-1675690"/>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smtClean="0"/>
            <a:t>Write a separate </a:t>
          </a:r>
          <a:r>
            <a:rPr lang="en-GB" sz="1800" kern="1200" dirty="0" smtClean="0">
              <a:solidFill>
                <a:schemeClr val="accent1"/>
              </a:solidFill>
            </a:rPr>
            <a:t>README</a:t>
          </a:r>
          <a:r>
            <a:rPr lang="en-GB" sz="1800" kern="1200" dirty="0" smtClean="0"/>
            <a:t> file with the above information</a:t>
          </a:r>
          <a:endParaRPr lang="en-GB" sz="1800" kern="1200" dirty="0"/>
        </a:p>
        <a:p>
          <a:pPr marL="171450" lvl="1" indent="-171450" algn="l" defTabSz="800100">
            <a:lnSpc>
              <a:spcPct val="90000"/>
            </a:lnSpc>
            <a:spcBef>
              <a:spcPct val="0"/>
            </a:spcBef>
            <a:spcAft>
              <a:spcPct val="15000"/>
            </a:spcAft>
            <a:buChar char="••"/>
          </a:pPr>
          <a:r>
            <a:rPr lang="en-GB" sz="1800" kern="1200" dirty="0" smtClean="0">
              <a:solidFill>
                <a:schemeClr val="accent1"/>
              </a:solidFill>
            </a:rPr>
            <a:t>Document each function </a:t>
          </a:r>
          <a:r>
            <a:rPr lang="en-GB" sz="1800" kern="1200" dirty="0" smtClean="0"/>
            <a:t>or section of code separately</a:t>
          </a:r>
        </a:p>
        <a:p>
          <a:pPr marL="171450" lvl="1" indent="-171450" algn="l" defTabSz="800100">
            <a:lnSpc>
              <a:spcPct val="90000"/>
            </a:lnSpc>
            <a:spcBef>
              <a:spcPct val="0"/>
            </a:spcBef>
            <a:spcAft>
              <a:spcPct val="15000"/>
            </a:spcAft>
            <a:buChar char="••"/>
          </a:pPr>
          <a:r>
            <a:rPr lang="en-GB" sz="1800" kern="1200" dirty="0" smtClean="0"/>
            <a:t>Provide </a:t>
          </a:r>
          <a:r>
            <a:rPr lang="en-GB" sz="1800" kern="1200" dirty="0" smtClean="0">
              <a:solidFill>
                <a:schemeClr val="accent1"/>
              </a:solidFill>
            </a:rPr>
            <a:t>examples</a:t>
          </a:r>
          <a:r>
            <a:rPr lang="en-GB" sz="1800" kern="1200" dirty="0" smtClean="0"/>
            <a:t> of usage</a:t>
          </a:r>
        </a:p>
      </dsp:txBody>
      <dsp:txXfrm rot="-5400000">
        <a:off x="3315377" y="1704062"/>
        <a:ext cx="7736856" cy="1033248"/>
      </dsp:txXfrm>
    </dsp:sp>
    <dsp:sp modelId="{26E9E06C-FADB-44D1-A2A9-F661D35ABEE0}">
      <dsp:nvSpPr>
        <dsp:cNvPr id="0" name=""/>
        <dsp:cNvSpPr/>
      </dsp:nvSpPr>
      <dsp:spPr>
        <a:xfrm>
          <a:off x="6184" y="1505034"/>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omplexity</a:t>
          </a:r>
          <a:endParaRPr lang="en-GB" sz="2800" kern="1200" dirty="0"/>
        </a:p>
      </dsp:txBody>
      <dsp:txXfrm>
        <a:off x="6184" y="1505034"/>
        <a:ext cx="3309193" cy="1431301"/>
      </dsp:txXfrm>
    </dsp:sp>
    <dsp:sp modelId="{0CC7DE73-D248-4981-8FFC-35CBFA79EA23}">
      <dsp:nvSpPr>
        <dsp:cNvPr id="0" name=""/>
        <dsp:cNvSpPr/>
      </dsp:nvSpPr>
      <dsp:spPr>
        <a:xfrm rot="5400000">
          <a:off x="6639233" y="-172824"/>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smtClean="0"/>
            <a:t>Create an </a:t>
          </a:r>
          <a:r>
            <a:rPr lang="en-GB" sz="1800" kern="1200" dirty="0" smtClean="0">
              <a:solidFill>
                <a:schemeClr val="accent1"/>
              </a:solidFill>
            </a:rPr>
            <a:t>R package</a:t>
          </a:r>
          <a:endParaRPr lang="en-GB" sz="1800" kern="1200" dirty="0">
            <a:solidFill>
              <a:schemeClr val="accent1"/>
            </a:solidFill>
          </a:endParaRPr>
        </a:p>
        <a:p>
          <a:pPr marL="171450" lvl="1" indent="-171450" algn="l" defTabSz="800100">
            <a:lnSpc>
              <a:spcPct val="90000"/>
            </a:lnSpc>
            <a:spcBef>
              <a:spcPct val="0"/>
            </a:spcBef>
            <a:spcAft>
              <a:spcPct val="15000"/>
            </a:spcAft>
            <a:buChar char="••"/>
          </a:pPr>
          <a:r>
            <a:rPr lang="en-GB" sz="1800" kern="1200" dirty="0" smtClean="0"/>
            <a:t>Create a </a:t>
          </a:r>
          <a:r>
            <a:rPr lang="en-GB" sz="1800" kern="1200" dirty="0" smtClean="0">
              <a:solidFill>
                <a:schemeClr val="accent1"/>
              </a:solidFill>
            </a:rPr>
            <a:t>DESCRIPTION</a:t>
          </a:r>
          <a:r>
            <a:rPr lang="en-GB" sz="1800" kern="1200" dirty="0" smtClean="0"/>
            <a:t> file to document the package</a:t>
          </a:r>
        </a:p>
        <a:p>
          <a:pPr marL="171450" lvl="1" indent="-171450" algn="l" defTabSz="800100">
            <a:lnSpc>
              <a:spcPct val="90000"/>
            </a:lnSpc>
            <a:spcBef>
              <a:spcPct val="0"/>
            </a:spcBef>
            <a:spcAft>
              <a:spcPct val="15000"/>
            </a:spcAft>
            <a:buChar char="••"/>
          </a:pPr>
          <a:r>
            <a:rPr lang="en-GB" sz="1800" kern="1200" dirty="0" smtClean="0"/>
            <a:t>Use </a:t>
          </a:r>
          <a:r>
            <a:rPr lang="en-GB" sz="1800" b="1" kern="1200" dirty="0" smtClean="0">
              <a:solidFill>
                <a:schemeClr val="accent1"/>
              </a:solidFill>
            </a:rPr>
            <a:t>roxygen2</a:t>
          </a:r>
          <a:r>
            <a:rPr lang="en-GB" sz="1800" kern="1200" dirty="0" smtClean="0"/>
            <a:t> to document each function</a:t>
          </a:r>
        </a:p>
        <a:p>
          <a:pPr marL="171450" lvl="1" indent="-171450" algn="l" defTabSz="800100">
            <a:lnSpc>
              <a:spcPct val="90000"/>
            </a:lnSpc>
            <a:spcBef>
              <a:spcPct val="0"/>
            </a:spcBef>
            <a:spcAft>
              <a:spcPct val="15000"/>
            </a:spcAft>
            <a:buChar char="••"/>
          </a:pPr>
          <a:r>
            <a:rPr lang="en-GB" sz="1800" kern="1200" dirty="0" smtClean="0"/>
            <a:t>Write a </a:t>
          </a:r>
          <a:r>
            <a:rPr lang="en-GB" sz="1800" b="1" kern="1200" dirty="0" smtClean="0">
              <a:solidFill>
                <a:schemeClr val="accent1"/>
              </a:solidFill>
            </a:rPr>
            <a:t>vignette </a:t>
          </a:r>
          <a:r>
            <a:rPr lang="en-GB" sz="1800" kern="1200" dirty="0" smtClean="0"/>
            <a:t>explaining its use</a:t>
          </a:r>
        </a:p>
      </dsp:txBody>
      <dsp:txXfrm rot="-5400000">
        <a:off x="3315377" y="3206928"/>
        <a:ext cx="7736856" cy="1033248"/>
      </dsp:txXfrm>
    </dsp:sp>
    <dsp:sp modelId="{69E5A299-B22F-472A-9D93-E2A612D5B234}">
      <dsp:nvSpPr>
        <dsp:cNvPr id="0" name=""/>
        <dsp:cNvSpPr/>
      </dsp:nvSpPr>
      <dsp:spPr>
        <a:xfrm>
          <a:off x="6184" y="3007901"/>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riticality</a:t>
          </a:r>
          <a:endParaRPr lang="en-GB" sz="2800" kern="1200" dirty="0"/>
        </a:p>
      </dsp:txBody>
      <dsp:txXfrm>
        <a:off x="6184" y="3007901"/>
        <a:ext cx="3309193" cy="14313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639233" y="-3178556"/>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smtClean="0"/>
            <a:t>Manual test should be performed recording the process and results</a:t>
          </a:r>
          <a:endParaRPr lang="en-GB" sz="1800" kern="1200" dirty="0"/>
        </a:p>
        <a:p>
          <a:pPr marL="171450" lvl="1" indent="-171450" algn="l" defTabSz="800100">
            <a:lnSpc>
              <a:spcPct val="90000"/>
            </a:lnSpc>
            <a:spcBef>
              <a:spcPct val="0"/>
            </a:spcBef>
            <a:spcAft>
              <a:spcPct val="15000"/>
            </a:spcAft>
            <a:buChar char="••"/>
          </a:pPr>
          <a:r>
            <a:rPr lang="en-GB" sz="1800" kern="1200" dirty="0" smtClean="0"/>
            <a:t>Add assertions to ensure reasonableness</a:t>
          </a:r>
          <a:endParaRPr lang="en-GB" sz="1800" kern="1200" dirty="0"/>
        </a:p>
        <a:p>
          <a:pPr marL="171450" lvl="1" indent="-171450" algn="l" defTabSz="800100">
            <a:lnSpc>
              <a:spcPct val="90000"/>
            </a:lnSpc>
            <a:spcBef>
              <a:spcPct val="0"/>
            </a:spcBef>
            <a:spcAft>
              <a:spcPct val="15000"/>
            </a:spcAft>
            <a:buChar char="••"/>
          </a:pPr>
          <a:r>
            <a:rPr lang="en-GB" sz="1800" kern="1200" dirty="0" smtClean="0"/>
            <a:t>Comparisons with known results</a:t>
          </a:r>
          <a:endParaRPr lang="en-GB" sz="1800" kern="1200" dirty="0"/>
        </a:p>
      </dsp:txBody>
      <dsp:txXfrm rot="-5400000">
        <a:off x="3315377" y="201196"/>
        <a:ext cx="7736856" cy="1033248"/>
      </dsp:txXfrm>
    </dsp:sp>
    <dsp:sp modelId="{83748B15-655A-499E-AE97-5681E3B432E2}">
      <dsp:nvSpPr>
        <dsp:cNvPr id="0" name=""/>
        <dsp:cNvSpPr/>
      </dsp:nvSpPr>
      <dsp:spPr>
        <a:xfrm>
          <a:off x="6184" y="2168"/>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Minimum</a:t>
          </a:r>
          <a:endParaRPr lang="en-GB" sz="2800" kern="1200" dirty="0"/>
        </a:p>
      </dsp:txBody>
      <dsp:txXfrm>
        <a:off x="6184" y="2168"/>
        <a:ext cx="3309193" cy="1431301"/>
      </dsp:txXfrm>
    </dsp:sp>
    <dsp:sp modelId="{2306E7C1-A194-4C64-9722-5BCA80DB670C}">
      <dsp:nvSpPr>
        <dsp:cNvPr id="0" name=""/>
        <dsp:cNvSpPr/>
      </dsp:nvSpPr>
      <dsp:spPr>
        <a:xfrm rot="5400000">
          <a:off x="6639233" y="-1675690"/>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t>Separate tests for each section/function of code.</a:t>
          </a:r>
          <a:endParaRPr lang="en-GB" sz="1800" kern="1200" dirty="0"/>
        </a:p>
        <a:p>
          <a:pPr marL="171450" lvl="1" indent="-171450" algn="l" defTabSz="800100">
            <a:lnSpc>
              <a:spcPct val="90000"/>
            </a:lnSpc>
            <a:spcBef>
              <a:spcPct val="0"/>
            </a:spcBef>
            <a:spcAft>
              <a:spcPct val="15000"/>
            </a:spcAft>
            <a:buChar char="••"/>
          </a:pPr>
          <a:r>
            <a:rPr lang="en-US" sz="1800" b="0" i="0" kern="1200" dirty="0" smtClean="0"/>
            <a:t>Comparisons with simple inputs and expected results</a:t>
          </a:r>
          <a:endParaRPr lang="en-US" sz="1800" b="0" i="0" kern="1200" dirty="0"/>
        </a:p>
      </dsp:txBody>
      <dsp:txXfrm rot="-5400000">
        <a:off x="3315377" y="1704062"/>
        <a:ext cx="7736856" cy="1033248"/>
      </dsp:txXfrm>
    </dsp:sp>
    <dsp:sp modelId="{26E9E06C-FADB-44D1-A2A9-F661D35ABEE0}">
      <dsp:nvSpPr>
        <dsp:cNvPr id="0" name=""/>
        <dsp:cNvSpPr/>
      </dsp:nvSpPr>
      <dsp:spPr>
        <a:xfrm>
          <a:off x="6184" y="1505034"/>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omplexity</a:t>
          </a:r>
          <a:endParaRPr lang="en-GB" sz="2800" kern="1200" dirty="0"/>
        </a:p>
      </dsp:txBody>
      <dsp:txXfrm>
        <a:off x="6184" y="1505034"/>
        <a:ext cx="3309193" cy="1431301"/>
      </dsp:txXfrm>
    </dsp:sp>
    <dsp:sp modelId="{0CC7DE73-D248-4981-8FFC-35CBFA79EA23}">
      <dsp:nvSpPr>
        <dsp:cNvPr id="0" name=""/>
        <dsp:cNvSpPr/>
      </dsp:nvSpPr>
      <dsp:spPr>
        <a:xfrm rot="5400000">
          <a:off x="6639233" y="-172824"/>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t>Use the package</a:t>
          </a:r>
          <a:r>
            <a:rPr lang="en-US" sz="1800" b="0" i="0" kern="1200" dirty="0" smtClean="0">
              <a:solidFill>
                <a:schemeClr val="accent1"/>
              </a:solidFill>
            </a:rPr>
            <a:t> </a:t>
          </a:r>
          <a:r>
            <a:rPr lang="en-US" sz="1800" b="0" i="0" kern="1200" dirty="0" err="1" smtClean="0">
              <a:solidFill>
                <a:schemeClr val="accent1"/>
              </a:solidFill>
            </a:rPr>
            <a:t>testthat</a:t>
          </a:r>
          <a:r>
            <a:rPr lang="en-US" sz="1800" b="0" i="0" kern="1200" dirty="0" smtClean="0">
              <a:solidFill>
                <a:schemeClr val="accent1"/>
              </a:solidFill>
            </a:rPr>
            <a:t> </a:t>
          </a:r>
          <a:r>
            <a:rPr lang="en-US" sz="1800" b="0" i="0" kern="1200" dirty="0" smtClean="0"/>
            <a:t>to write executable tests.</a:t>
          </a:r>
          <a:endParaRPr lang="en-GB" sz="1800" kern="1200" dirty="0">
            <a:solidFill>
              <a:schemeClr val="accent1"/>
            </a:solidFill>
          </a:endParaRPr>
        </a:p>
        <a:p>
          <a:pPr marL="171450" lvl="1" indent="-171450" algn="l" defTabSz="800100">
            <a:lnSpc>
              <a:spcPct val="90000"/>
            </a:lnSpc>
            <a:spcBef>
              <a:spcPct val="0"/>
            </a:spcBef>
            <a:spcAft>
              <a:spcPct val="15000"/>
            </a:spcAft>
            <a:buChar char="••"/>
          </a:pPr>
          <a:r>
            <a:rPr lang="en-US" sz="1800" b="0" i="0" kern="1200" dirty="0" smtClean="0"/>
            <a:t>Execute regression tests whenever changes are made.</a:t>
          </a:r>
          <a:endParaRPr lang="en-US" sz="1800" b="0" i="0" kern="1200" dirty="0"/>
        </a:p>
        <a:p>
          <a:pPr marL="171450" lvl="1" indent="-171450" algn="l" defTabSz="800100">
            <a:lnSpc>
              <a:spcPct val="90000"/>
            </a:lnSpc>
            <a:spcBef>
              <a:spcPct val="0"/>
            </a:spcBef>
            <a:spcAft>
              <a:spcPct val="15000"/>
            </a:spcAft>
            <a:buChar char="••"/>
          </a:pPr>
          <a:r>
            <a:rPr lang="en-US" sz="1800" b="0" i="0" kern="1200" dirty="0" smtClean="0"/>
            <a:t>Perform integration tests with dependent systems.</a:t>
          </a:r>
          <a:endParaRPr lang="en-US" sz="1800" b="0" i="0" kern="1200" dirty="0"/>
        </a:p>
      </dsp:txBody>
      <dsp:txXfrm rot="-5400000">
        <a:off x="3315377" y="3206928"/>
        <a:ext cx="7736856" cy="1033248"/>
      </dsp:txXfrm>
    </dsp:sp>
    <dsp:sp modelId="{69E5A299-B22F-472A-9D93-E2A612D5B234}">
      <dsp:nvSpPr>
        <dsp:cNvPr id="0" name=""/>
        <dsp:cNvSpPr/>
      </dsp:nvSpPr>
      <dsp:spPr>
        <a:xfrm>
          <a:off x="6184" y="3007901"/>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riticality</a:t>
          </a:r>
          <a:endParaRPr lang="en-GB" sz="2800" kern="1200" dirty="0"/>
        </a:p>
      </dsp:txBody>
      <dsp:txXfrm>
        <a:off x="6184" y="3007901"/>
        <a:ext cx="3309193" cy="14313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639233" y="-3178556"/>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smtClean="0"/>
            <a:t>Clearly define inputs</a:t>
          </a:r>
          <a:endParaRPr lang="en-GB" sz="1800" kern="1200" dirty="0"/>
        </a:p>
        <a:p>
          <a:pPr marL="171450" lvl="1" indent="-171450" algn="l" defTabSz="800100">
            <a:lnSpc>
              <a:spcPct val="90000"/>
            </a:lnSpc>
            <a:spcBef>
              <a:spcPct val="0"/>
            </a:spcBef>
            <a:spcAft>
              <a:spcPct val="15000"/>
            </a:spcAft>
            <a:buChar char="••"/>
          </a:pPr>
          <a:r>
            <a:rPr lang="en-GB" sz="1800" kern="1200" dirty="0" smtClean="0"/>
            <a:t>Declare dependencies explicitly</a:t>
          </a:r>
          <a:endParaRPr lang="en-GB" sz="1800" kern="1200" dirty="0"/>
        </a:p>
        <a:p>
          <a:pPr marL="171450" lvl="1" indent="-171450" algn="l" defTabSz="800100">
            <a:lnSpc>
              <a:spcPct val="90000"/>
            </a:lnSpc>
            <a:spcBef>
              <a:spcPct val="0"/>
            </a:spcBef>
            <a:spcAft>
              <a:spcPct val="15000"/>
            </a:spcAft>
            <a:buChar char="••"/>
          </a:pPr>
          <a:r>
            <a:rPr lang="en-GB" sz="1800" kern="1200" dirty="0" smtClean="0"/>
            <a:t>Avoid sourcing external R files</a:t>
          </a:r>
          <a:endParaRPr lang="en-GB" sz="1800" kern="1200" dirty="0"/>
        </a:p>
      </dsp:txBody>
      <dsp:txXfrm rot="-5400000">
        <a:off x="3315377" y="201196"/>
        <a:ext cx="7736856" cy="1033248"/>
      </dsp:txXfrm>
    </dsp:sp>
    <dsp:sp modelId="{83748B15-655A-499E-AE97-5681E3B432E2}">
      <dsp:nvSpPr>
        <dsp:cNvPr id="0" name=""/>
        <dsp:cNvSpPr/>
      </dsp:nvSpPr>
      <dsp:spPr>
        <a:xfrm>
          <a:off x="6184" y="2168"/>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Minimum</a:t>
          </a:r>
          <a:endParaRPr lang="en-GB" sz="2800" kern="1200" dirty="0"/>
        </a:p>
      </dsp:txBody>
      <dsp:txXfrm>
        <a:off x="6184" y="2168"/>
        <a:ext cx="3309193" cy="1431301"/>
      </dsp:txXfrm>
    </dsp:sp>
    <dsp:sp modelId="{2306E7C1-A194-4C64-9722-5BCA80DB670C}">
      <dsp:nvSpPr>
        <dsp:cNvPr id="0" name=""/>
        <dsp:cNvSpPr/>
      </dsp:nvSpPr>
      <dsp:spPr>
        <a:xfrm rot="5400000">
          <a:off x="6639233" y="-1675690"/>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smtClean="0"/>
            <a:t>Use </a:t>
          </a:r>
          <a:r>
            <a:rPr lang="en-GB" sz="1800" kern="1200" dirty="0" err="1" smtClean="0"/>
            <a:t>RStudio</a:t>
          </a:r>
          <a:r>
            <a:rPr lang="en-GB" sz="1800" kern="1200" dirty="0" smtClean="0"/>
            <a:t> projects</a:t>
          </a:r>
          <a:endParaRPr lang="en-GB" sz="1800" kern="1200" dirty="0"/>
        </a:p>
        <a:p>
          <a:pPr marL="171450" lvl="1" indent="-171450" algn="l" defTabSz="800100">
            <a:lnSpc>
              <a:spcPct val="90000"/>
            </a:lnSpc>
            <a:spcBef>
              <a:spcPct val="0"/>
            </a:spcBef>
            <a:spcAft>
              <a:spcPct val="15000"/>
            </a:spcAft>
            <a:buChar char="••"/>
          </a:pPr>
          <a:r>
            <a:rPr lang="en-GB" sz="1800" kern="1200" dirty="0" smtClean="0"/>
            <a:t>Have clear project structure</a:t>
          </a:r>
          <a:endParaRPr lang="en-GB" sz="1800" kern="1200" dirty="0"/>
        </a:p>
      </dsp:txBody>
      <dsp:txXfrm rot="-5400000">
        <a:off x="3315377" y="1704062"/>
        <a:ext cx="7736856" cy="1033248"/>
      </dsp:txXfrm>
    </dsp:sp>
    <dsp:sp modelId="{26E9E06C-FADB-44D1-A2A9-F661D35ABEE0}">
      <dsp:nvSpPr>
        <dsp:cNvPr id="0" name=""/>
        <dsp:cNvSpPr/>
      </dsp:nvSpPr>
      <dsp:spPr>
        <a:xfrm>
          <a:off x="6184" y="1505034"/>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omplexity</a:t>
          </a:r>
          <a:endParaRPr lang="en-GB" sz="2800" kern="1200" dirty="0"/>
        </a:p>
      </dsp:txBody>
      <dsp:txXfrm>
        <a:off x="6184" y="1505034"/>
        <a:ext cx="3309193" cy="1431301"/>
      </dsp:txXfrm>
    </dsp:sp>
    <dsp:sp modelId="{0CC7DE73-D248-4981-8FFC-35CBFA79EA23}">
      <dsp:nvSpPr>
        <dsp:cNvPr id="0" name=""/>
        <dsp:cNvSpPr/>
      </dsp:nvSpPr>
      <dsp:spPr>
        <a:xfrm rot="5400000">
          <a:off x="6639233" y="-172824"/>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solidFill>
              <a:schemeClr val="accent1"/>
            </a:solidFill>
          </a:endParaRPr>
        </a:p>
        <a:p>
          <a:pPr marL="171450" lvl="1" indent="-171450" algn="l" defTabSz="800100">
            <a:lnSpc>
              <a:spcPct val="90000"/>
            </a:lnSpc>
            <a:spcBef>
              <a:spcPct val="0"/>
            </a:spcBef>
            <a:spcAft>
              <a:spcPct val="15000"/>
            </a:spcAft>
            <a:buChar char="••"/>
          </a:pPr>
          <a:r>
            <a:rPr lang="en-US" sz="1800" b="0" i="0" kern="1200" dirty="0" smtClean="0"/>
            <a:t>Output audit logs with time stamp, username and environment</a:t>
          </a:r>
          <a:endParaRPr lang="en-US" sz="1800" b="0" i="0" kern="1200" dirty="0"/>
        </a:p>
        <a:p>
          <a:pPr marL="171450" lvl="1" indent="-171450" algn="l" defTabSz="800100">
            <a:lnSpc>
              <a:spcPct val="90000"/>
            </a:lnSpc>
            <a:spcBef>
              <a:spcPct val="0"/>
            </a:spcBef>
            <a:spcAft>
              <a:spcPct val="15000"/>
            </a:spcAft>
            <a:buChar char="••"/>
          </a:pPr>
          <a:r>
            <a:rPr lang="en-US" sz="1800" b="0" i="0" kern="1200" dirty="0" smtClean="0"/>
            <a:t>Cache inputs in a subfolder</a:t>
          </a:r>
          <a:endParaRPr lang="en-US" sz="1800" b="0" i="0" kern="1200" dirty="0"/>
        </a:p>
        <a:p>
          <a:pPr marL="171450" lvl="1" indent="-171450" algn="l" defTabSz="800100">
            <a:lnSpc>
              <a:spcPct val="90000"/>
            </a:lnSpc>
            <a:spcBef>
              <a:spcPct val="0"/>
            </a:spcBef>
            <a:spcAft>
              <a:spcPct val="15000"/>
            </a:spcAft>
            <a:buChar char="••"/>
          </a:pPr>
          <a:endParaRPr lang="en-US" sz="1800" b="0" i="0" kern="1200" dirty="0"/>
        </a:p>
      </dsp:txBody>
      <dsp:txXfrm rot="-5400000">
        <a:off x="3315377" y="3206928"/>
        <a:ext cx="7736856" cy="1033248"/>
      </dsp:txXfrm>
    </dsp:sp>
    <dsp:sp modelId="{69E5A299-B22F-472A-9D93-E2A612D5B234}">
      <dsp:nvSpPr>
        <dsp:cNvPr id="0" name=""/>
        <dsp:cNvSpPr/>
      </dsp:nvSpPr>
      <dsp:spPr>
        <a:xfrm>
          <a:off x="6184" y="3007901"/>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riticality</a:t>
          </a:r>
          <a:endParaRPr lang="en-GB" sz="2800" kern="1200" dirty="0"/>
        </a:p>
      </dsp:txBody>
      <dsp:txXfrm>
        <a:off x="6184" y="3007901"/>
        <a:ext cx="3309193" cy="14313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639233" y="-3178556"/>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endParaRPr lang="en-GB" sz="1800" kern="1200" dirty="0"/>
        </a:p>
      </dsp:txBody>
      <dsp:txXfrm rot="-5400000">
        <a:off x="3315377" y="201196"/>
        <a:ext cx="7736856" cy="1033248"/>
      </dsp:txXfrm>
    </dsp:sp>
    <dsp:sp modelId="{83748B15-655A-499E-AE97-5681E3B432E2}">
      <dsp:nvSpPr>
        <dsp:cNvPr id="0" name=""/>
        <dsp:cNvSpPr/>
      </dsp:nvSpPr>
      <dsp:spPr>
        <a:xfrm>
          <a:off x="6184" y="2168"/>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Minimum</a:t>
          </a:r>
          <a:endParaRPr lang="en-GB" sz="2800" kern="1200" dirty="0"/>
        </a:p>
      </dsp:txBody>
      <dsp:txXfrm>
        <a:off x="6184" y="2168"/>
        <a:ext cx="3309193" cy="1431301"/>
      </dsp:txXfrm>
    </dsp:sp>
    <dsp:sp modelId="{2306E7C1-A194-4C64-9722-5BCA80DB670C}">
      <dsp:nvSpPr>
        <dsp:cNvPr id="0" name=""/>
        <dsp:cNvSpPr/>
      </dsp:nvSpPr>
      <dsp:spPr>
        <a:xfrm rot="5400000">
          <a:off x="6639233" y="-1675690"/>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endParaRPr lang="en-GB" sz="1800" kern="1200" dirty="0"/>
        </a:p>
      </dsp:txBody>
      <dsp:txXfrm rot="-5400000">
        <a:off x="3315377" y="1704062"/>
        <a:ext cx="7736856" cy="1033248"/>
      </dsp:txXfrm>
    </dsp:sp>
    <dsp:sp modelId="{26E9E06C-FADB-44D1-A2A9-F661D35ABEE0}">
      <dsp:nvSpPr>
        <dsp:cNvPr id="0" name=""/>
        <dsp:cNvSpPr/>
      </dsp:nvSpPr>
      <dsp:spPr>
        <a:xfrm>
          <a:off x="6184" y="1505034"/>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omplexity</a:t>
          </a:r>
          <a:endParaRPr lang="en-GB" sz="2800" kern="1200" dirty="0"/>
        </a:p>
      </dsp:txBody>
      <dsp:txXfrm>
        <a:off x="6184" y="1505034"/>
        <a:ext cx="3309193" cy="1431301"/>
      </dsp:txXfrm>
    </dsp:sp>
    <dsp:sp modelId="{0CC7DE73-D248-4981-8FFC-35CBFA79EA23}">
      <dsp:nvSpPr>
        <dsp:cNvPr id="0" name=""/>
        <dsp:cNvSpPr/>
      </dsp:nvSpPr>
      <dsp:spPr>
        <a:xfrm rot="5400000">
          <a:off x="6639233" y="-172824"/>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solidFill>
              <a:schemeClr val="accent1"/>
            </a:solidFill>
          </a:endParaRPr>
        </a:p>
        <a:p>
          <a:pPr marL="171450" lvl="1" indent="-171450" algn="l" defTabSz="800100">
            <a:lnSpc>
              <a:spcPct val="90000"/>
            </a:lnSpc>
            <a:spcBef>
              <a:spcPct val="0"/>
            </a:spcBef>
            <a:spcAft>
              <a:spcPct val="15000"/>
            </a:spcAft>
            <a:buChar char="••"/>
          </a:pPr>
          <a:endParaRPr lang="en-US" sz="1800" b="0" i="0" kern="1200" dirty="0"/>
        </a:p>
        <a:p>
          <a:pPr marL="171450" lvl="1" indent="-171450" algn="l" defTabSz="800100">
            <a:lnSpc>
              <a:spcPct val="90000"/>
            </a:lnSpc>
            <a:spcBef>
              <a:spcPct val="0"/>
            </a:spcBef>
            <a:spcAft>
              <a:spcPct val="15000"/>
            </a:spcAft>
            <a:buChar char="••"/>
          </a:pPr>
          <a:endParaRPr lang="en-US" sz="1800" b="0" i="0" kern="1200" dirty="0"/>
        </a:p>
      </dsp:txBody>
      <dsp:txXfrm rot="-5400000">
        <a:off x="3315377" y="3206928"/>
        <a:ext cx="7736856" cy="1033248"/>
      </dsp:txXfrm>
    </dsp:sp>
    <dsp:sp modelId="{69E5A299-B22F-472A-9D93-E2A612D5B234}">
      <dsp:nvSpPr>
        <dsp:cNvPr id="0" name=""/>
        <dsp:cNvSpPr/>
      </dsp:nvSpPr>
      <dsp:spPr>
        <a:xfrm>
          <a:off x="6184" y="3007901"/>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riticality</a:t>
          </a:r>
          <a:endParaRPr lang="en-GB" sz="2800" kern="1200" dirty="0"/>
        </a:p>
      </dsp:txBody>
      <dsp:txXfrm>
        <a:off x="6184" y="3007901"/>
        <a:ext cx="3309193" cy="143130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373FA-6663-41F2-8AD5-3B97D8CFCE65}">
      <dsp:nvSpPr>
        <dsp:cNvPr id="0" name=""/>
        <dsp:cNvSpPr/>
      </dsp:nvSpPr>
      <dsp:spPr>
        <a:xfrm rot="5400000">
          <a:off x="6639233" y="-3178556"/>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endParaRPr lang="en-GB" sz="1800" kern="1200" dirty="0"/>
        </a:p>
      </dsp:txBody>
      <dsp:txXfrm rot="-5400000">
        <a:off x="3315377" y="201196"/>
        <a:ext cx="7736856" cy="1033248"/>
      </dsp:txXfrm>
    </dsp:sp>
    <dsp:sp modelId="{83748B15-655A-499E-AE97-5681E3B432E2}">
      <dsp:nvSpPr>
        <dsp:cNvPr id="0" name=""/>
        <dsp:cNvSpPr/>
      </dsp:nvSpPr>
      <dsp:spPr>
        <a:xfrm>
          <a:off x="6184" y="2168"/>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Minimum</a:t>
          </a:r>
          <a:endParaRPr lang="en-GB" sz="2800" kern="1200" dirty="0"/>
        </a:p>
      </dsp:txBody>
      <dsp:txXfrm>
        <a:off x="6184" y="2168"/>
        <a:ext cx="3309193" cy="1431301"/>
      </dsp:txXfrm>
    </dsp:sp>
    <dsp:sp modelId="{2306E7C1-A194-4C64-9722-5BCA80DB670C}">
      <dsp:nvSpPr>
        <dsp:cNvPr id="0" name=""/>
        <dsp:cNvSpPr/>
      </dsp:nvSpPr>
      <dsp:spPr>
        <a:xfrm rot="5400000">
          <a:off x="6639233" y="-1675690"/>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endParaRPr lang="en-GB" sz="1800" kern="1200" dirty="0"/>
        </a:p>
      </dsp:txBody>
      <dsp:txXfrm rot="-5400000">
        <a:off x="3315377" y="1704062"/>
        <a:ext cx="7736856" cy="1033248"/>
      </dsp:txXfrm>
    </dsp:sp>
    <dsp:sp modelId="{26E9E06C-FADB-44D1-A2A9-F661D35ABEE0}">
      <dsp:nvSpPr>
        <dsp:cNvPr id="0" name=""/>
        <dsp:cNvSpPr/>
      </dsp:nvSpPr>
      <dsp:spPr>
        <a:xfrm>
          <a:off x="6184" y="1505034"/>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omplexity</a:t>
          </a:r>
          <a:endParaRPr lang="en-GB" sz="2800" kern="1200" dirty="0"/>
        </a:p>
      </dsp:txBody>
      <dsp:txXfrm>
        <a:off x="6184" y="1505034"/>
        <a:ext cx="3309193" cy="1431301"/>
      </dsp:txXfrm>
    </dsp:sp>
    <dsp:sp modelId="{0CC7DE73-D248-4981-8FFC-35CBFA79EA23}">
      <dsp:nvSpPr>
        <dsp:cNvPr id="0" name=""/>
        <dsp:cNvSpPr/>
      </dsp:nvSpPr>
      <dsp:spPr>
        <a:xfrm rot="5400000">
          <a:off x="6639233" y="-172824"/>
          <a:ext cx="1145040" cy="7792752"/>
        </a:xfrm>
        <a:prstGeom prst="round2SameRect">
          <a:avLst/>
        </a:prstGeom>
        <a:solidFill>
          <a:schemeClr val="bg1">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GB" sz="1800" kern="1200" dirty="0">
            <a:solidFill>
              <a:schemeClr val="accent1"/>
            </a:solidFill>
          </a:endParaRPr>
        </a:p>
        <a:p>
          <a:pPr marL="171450" lvl="1" indent="-171450" algn="l" defTabSz="800100">
            <a:lnSpc>
              <a:spcPct val="90000"/>
            </a:lnSpc>
            <a:spcBef>
              <a:spcPct val="0"/>
            </a:spcBef>
            <a:spcAft>
              <a:spcPct val="15000"/>
            </a:spcAft>
            <a:buChar char="••"/>
          </a:pPr>
          <a:endParaRPr lang="en-US" sz="1800" b="0" i="0" kern="1200" dirty="0"/>
        </a:p>
        <a:p>
          <a:pPr marL="171450" lvl="1" indent="-171450" algn="l" defTabSz="800100">
            <a:lnSpc>
              <a:spcPct val="90000"/>
            </a:lnSpc>
            <a:spcBef>
              <a:spcPct val="0"/>
            </a:spcBef>
            <a:spcAft>
              <a:spcPct val="15000"/>
            </a:spcAft>
            <a:buChar char="••"/>
          </a:pPr>
          <a:endParaRPr lang="en-US" sz="1800" b="0" i="0" kern="1200" dirty="0"/>
        </a:p>
      </dsp:txBody>
      <dsp:txXfrm rot="-5400000">
        <a:off x="3315377" y="3206928"/>
        <a:ext cx="7736856" cy="1033248"/>
      </dsp:txXfrm>
    </dsp:sp>
    <dsp:sp modelId="{69E5A299-B22F-472A-9D93-E2A612D5B234}">
      <dsp:nvSpPr>
        <dsp:cNvPr id="0" name=""/>
        <dsp:cNvSpPr/>
      </dsp:nvSpPr>
      <dsp:spPr>
        <a:xfrm>
          <a:off x="6184" y="3007901"/>
          <a:ext cx="3309193" cy="1431301"/>
        </a:xfrm>
        <a:prstGeom prst="rect">
          <a:avLst/>
        </a:prstGeom>
        <a:solidFill>
          <a:schemeClr val="accent1"/>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53340" rIns="106680" bIns="53340" numCol="1" spcCol="1270" anchor="ctr" anchorCtr="0">
          <a:noAutofit/>
        </a:bodyPr>
        <a:lstStyle/>
        <a:p>
          <a:pPr lvl="0" algn="l" defTabSz="1244600">
            <a:lnSpc>
              <a:spcPct val="90000"/>
            </a:lnSpc>
            <a:spcBef>
              <a:spcPct val="0"/>
            </a:spcBef>
            <a:spcAft>
              <a:spcPct val="35000"/>
            </a:spcAft>
          </a:pPr>
          <a:r>
            <a:rPr lang="en-GB" sz="2800" kern="1200" dirty="0" smtClean="0"/>
            <a:t>High Criticality</a:t>
          </a:r>
          <a:endParaRPr lang="en-GB" sz="2800" kern="1200" dirty="0"/>
        </a:p>
      </dsp:txBody>
      <dsp:txXfrm>
        <a:off x="6184" y="3007901"/>
        <a:ext cx="3309193" cy="143130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sz="quarter" idx="1"/>
          </p:nvPr>
        </p:nvSpPr>
        <p:spPr>
          <a:xfrm>
            <a:off x="5924748" y="0"/>
            <a:ext cx="931665" cy="276999"/>
          </a:xfrm>
          <a:prstGeom prst="rect">
            <a:avLst/>
          </a:prstGeom>
        </p:spPr>
        <p:txBody>
          <a:bodyPr vert="horz" wrap="none" lIns="91440" tIns="45720" rIns="91440" bIns="45720" rtlCol="0">
            <a:spAutoFit/>
          </a:bodyPr>
          <a:lstStyle>
            <a:lvl1pPr algn="r">
              <a:defRPr sz="1200"/>
            </a:lvl1pPr>
          </a:lstStyle>
          <a:p>
            <a:fld id="{3FEF8E6F-256A-4BDC-8BE6-E3D13430BDFA}" type="datetimeFigureOut">
              <a:rPr lang="en-GB" smtClean="0"/>
              <a:t>16/08/2018</a:t>
            </a:fld>
            <a:endParaRPr lang="en-GB"/>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5" name="Slide Number Placeholder 4"/>
          <p:cNvSpPr>
            <a:spLocks noGrp="1"/>
          </p:cNvSpPr>
          <p:nvPr>
            <p:ph type="sldNum" sz="quarter" idx="3"/>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8DE38726-FE2B-4107-A90C-F811A567A191}" type="slidenum">
              <a:rPr lang="en-GB" smtClean="0"/>
              <a:t>‹#›</a:t>
            </a:fld>
            <a:endParaRPr lang="en-GB"/>
          </a:p>
        </p:txBody>
      </p:sp>
    </p:spTree>
    <p:extLst>
      <p:ext uri="{BB962C8B-B14F-4D97-AF65-F5344CB8AC3E}">
        <p14:creationId xmlns:p14="http://schemas.microsoft.com/office/powerpoint/2010/main" val="711079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13" name="Date Placeholder 1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EB4EC575-BF41-48F1-B716-96FFA91122F4}" type="datetimeFigureOut">
              <a:rPr lang="en-GB" smtClean="0"/>
              <a:t>16/08/2018</a:t>
            </a:fld>
            <a:endParaRPr lang="en-GB"/>
          </a:p>
        </p:txBody>
      </p:sp>
      <p:sp>
        <p:nvSpPr>
          <p:cNvPr id="3" name="Notes Placeholder 2"/>
          <p:cNvSpPr>
            <a:spLocks noGrp="1"/>
          </p:cNvSpPr>
          <p:nvPr>
            <p:ph type="body" sz="quarter" idx="3"/>
            <p:custDataLst>
              <p:tags r:id="rId2"/>
            </p:custDataLst>
          </p:nvPr>
        </p:nvSpPr>
        <p:spPr bwMode="auto">
          <a:xfrm>
            <a:off x="685800" y="4400550"/>
            <a:ext cx="5486400" cy="3600450"/>
          </a:xfrm>
          <a:prstGeom prst="rect">
            <a:avLst/>
          </a:prstGeo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999"/>
      </a:spcBef>
      <a:spcAft>
        <a:spcPts val="399"/>
      </a:spcAft>
      <a:defRPr kumimoji="0" lang="en-US" sz="1398" b="0" i="0" u="none" kern="1200" baseline="0" smtClean="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399"/>
      </a:spcBef>
      <a:spcAft>
        <a:spcPts val="399"/>
      </a:spcAft>
      <a:defRPr kumimoji="0" lang="en-US" sz="1398" b="0" i="0" u="none" kern="1200" baseline="0" smtClean="0">
        <a:solidFill>
          <a:srgbClr val="000000"/>
        </a:solidFill>
        <a:latin typeface="Arial" panose="020B0604020202020204" pitchFamily="34" charset="0"/>
        <a:ea typeface="+mn-ea"/>
        <a:cs typeface="+mn-cs"/>
      </a:defRPr>
    </a:lvl2pPr>
    <a:lvl3pPr marL="269649"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3pPr>
    <a:lvl4pPr marL="539298"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4pPr>
    <a:lvl5pPr marL="808947"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GB" sz="1198"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D6805EC-C5D3-4FCC-8B7C-480EC75C7913}" type="slidenum">
              <a:rPr lang="en-GB" smtClean="0"/>
              <a:t>1</a:t>
            </a:fld>
            <a:endParaRPr lang="en-GB"/>
          </a:p>
        </p:txBody>
      </p:sp>
    </p:spTree>
    <p:extLst>
      <p:ext uri="{BB962C8B-B14F-4D97-AF65-F5344CB8AC3E}">
        <p14:creationId xmlns:p14="http://schemas.microsoft.com/office/powerpoint/2010/main" val="1208641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600" y="0"/>
            <a:ext cx="12193200" cy="6858000"/>
          </a:xfrm>
        </p:spPr>
        <p:txBody>
          <a:bodyPr/>
          <a:lstStyle/>
          <a:p>
            <a:r>
              <a:rPr lang="en-US" noProof="0" smtClean="0"/>
              <a:t>Click icon to add picture</a:t>
            </a:r>
            <a:endParaRPr lang="en-GB" noProof="0" dirty="0"/>
          </a:p>
        </p:txBody>
      </p:sp>
      <p:sp>
        <p:nvSpPr>
          <p:cNvPr id="2" name="Title 1"/>
          <p:cNvSpPr>
            <a:spLocks noGrp="1"/>
          </p:cNvSpPr>
          <p:nvPr>
            <p:ph type="ctrTitle"/>
          </p:nvPr>
        </p:nvSpPr>
        <p:spPr>
          <a:xfrm>
            <a:off x="539400" y="1512000"/>
            <a:ext cx="11112500" cy="699404"/>
          </a:xfrm>
        </p:spPr>
        <p:txBody>
          <a:bodyPr anchor="t">
            <a:noAutofit/>
          </a:bodyPr>
          <a:lstStyle>
            <a:lvl1pPr algn="l">
              <a:defRPr sz="4000" b="0">
                <a:solidFill>
                  <a:schemeClr val="bg1"/>
                </a:solidFill>
              </a:defRPr>
            </a:lvl1pPr>
            <a:lvl2pPr>
              <a:lnSpc>
                <a:spcPct val="90000"/>
              </a:lnSpc>
              <a:defRPr sz="4000">
                <a:latin typeface="+mj-lt"/>
              </a:defRPr>
            </a:lvl2pPr>
          </a:lstStyle>
          <a:p>
            <a:pPr lvl="0"/>
            <a:r>
              <a:rPr lang="en-US" noProof="0" smtClean="0"/>
              <a:t>Click to edit Master title style</a:t>
            </a:r>
            <a:endParaRPr lang="en-GB" noProof="0" dirty="0"/>
          </a:p>
        </p:txBody>
      </p:sp>
      <p:sp>
        <p:nvSpPr>
          <p:cNvPr id="3" name="Subtitle 2"/>
          <p:cNvSpPr>
            <a:spLocks noGrp="1"/>
          </p:cNvSpPr>
          <p:nvPr>
            <p:ph type="subTitle" idx="1"/>
          </p:nvPr>
        </p:nvSpPr>
        <p:spPr>
          <a:xfrm>
            <a:off x="539400" y="2232000"/>
            <a:ext cx="111125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smtClean="0"/>
              <a:t>Click to edit Master subtitle style</a:t>
            </a:r>
            <a:endParaRPr lang="en-GB" noProof="0" dirty="0"/>
          </a:p>
        </p:txBody>
      </p:sp>
      <p:sp>
        <p:nvSpPr>
          <p:cNvPr id="5" name="Footer Placeholder 4"/>
          <p:cNvSpPr>
            <a:spLocks noGrp="1"/>
          </p:cNvSpPr>
          <p:nvPr>
            <p:ph type="ftr" sz="quarter" idx="11"/>
          </p:nvPr>
        </p:nvSpPr>
        <p:spPr>
          <a:xfrm>
            <a:off x="539999" y="6384849"/>
            <a:ext cx="4114800" cy="276999"/>
          </a:xfrm>
        </p:spPr>
        <p:txBody>
          <a:bodyPr/>
          <a:lstStyle>
            <a:lvl1pPr>
              <a:defRPr>
                <a:solidFill>
                  <a:schemeClr val="bg1"/>
                </a:solidFill>
              </a:defRPr>
            </a:lvl1pPr>
            <a:lvl2pPr marL="0" algn="l">
              <a:defRPr sz="1200"/>
            </a:lvl2pPr>
          </a:lstStyle>
          <a:p>
            <a:r>
              <a:rPr lang="en-GB" noProof="0" dirty="0" smtClean="0"/>
              <a:t>© Lloyd’s</a:t>
            </a:r>
            <a:endParaRPr lang="en-GB" noProof="0"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cxnSp>
        <p:nvCxnSpPr>
          <p:cNvPr id="17" name="Straight Connector 16"/>
          <p:cNvCxnSpPr/>
          <p:nvPr userDrawn="1"/>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61664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3000">
                <a:solidFill>
                  <a:schemeClr val="tx1"/>
                </a:solidFill>
              </a:defRPr>
            </a:lvl1pPr>
            <a:lvl2pPr>
              <a:spcBef>
                <a:spcPts val="600"/>
              </a:spcBef>
              <a:defRPr sz="3000">
                <a:solidFill>
                  <a:schemeClr val="tx1"/>
                </a:solidFill>
              </a:defRPr>
            </a:lvl2pPr>
            <a:lvl3pPr marL="504000" indent="-504000">
              <a:spcBef>
                <a:spcPts val="0"/>
              </a:spcBef>
              <a:defRPr sz="2400">
                <a:solidFill>
                  <a:schemeClr val="tx1"/>
                </a:solidFill>
              </a:defRPr>
            </a:lvl3pPr>
            <a:lvl4pPr marL="1008000" indent="-504000">
              <a:spcBef>
                <a:spcPts val="0"/>
              </a:spcBef>
              <a:defRPr sz="2400">
                <a:solidFill>
                  <a:schemeClr val="tx1"/>
                </a:solidFill>
              </a:defRPr>
            </a:lvl4pPr>
            <a:lvl5pPr marL="1512000" indent="-504000">
              <a:spcBef>
                <a:spcPts val="0"/>
              </a:spcBef>
              <a:defRPr sz="2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16/08/2018</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dirty="0" smtClean="0"/>
              <a:t>© Lloyd’s</a:t>
            </a:r>
            <a:endParaRPr lang="en-GB" noProof="0" dirty="0"/>
          </a:p>
        </p:txBody>
      </p:sp>
      <p:cxnSp>
        <p:nvCxnSpPr>
          <p:cNvPr id="19" name="Straight Connector 18"/>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userDrawn="1"/>
        </p:nvSpPr>
        <p:spPr>
          <a:xfrm>
            <a:off x="8909999" y="6400237"/>
            <a:ext cx="2743200" cy="246221"/>
          </a:xfrm>
          <a:prstGeom prst="rect">
            <a:avLst/>
          </a:prstGeom>
        </p:spPr>
        <p:txBody>
          <a:bodyPr vert="horz" lIns="0" tIns="45720" rIns="0" bIns="45720" rtlCol="0" anchor="ctr">
            <a:noAutofit/>
          </a:bodyPr>
          <a:lstStyle>
            <a:defPPr>
              <a:defRPr lang="en-US"/>
            </a:defPPr>
            <a:lvl1pPr algn="r">
              <a:defRPr sz="1000">
                <a:solidFill>
                  <a:schemeClr val="accent1"/>
                </a:solidFill>
              </a:defRPr>
            </a:lvl1pPr>
          </a:lstStyle>
          <a:p>
            <a:pPr lvl="0"/>
            <a:fld id="{377EB79C-4237-4EDF-B16A-CF67A8C936B9}" type="slidenum">
              <a:rPr lang="en-GB" sz="1100" noProof="0" smtClean="0">
                <a:solidFill>
                  <a:schemeClr val="tx1"/>
                </a:solidFill>
              </a:rPr>
              <a:pPr lvl="0"/>
              <a:t>‹#›</a:t>
            </a:fld>
            <a:endParaRPr lang="en-GB" sz="1100" noProof="0" dirty="0">
              <a:solidFill>
                <a:schemeClr val="tx1"/>
              </a:solidFill>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Tree>
    <p:extLst>
      <p:ext uri="{BB962C8B-B14F-4D97-AF65-F5344CB8AC3E}">
        <p14:creationId xmlns:p14="http://schemas.microsoft.com/office/powerpoint/2010/main" val="328628743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5292000" cy="4428000"/>
          </a:xfrm>
        </p:spPr>
        <p:txBody>
          <a:bodyPr>
            <a:noAutofit/>
          </a:bodyPr>
          <a:lstStyle>
            <a:lvl1pPr>
              <a:spcAft>
                <a:spcPts val="600"/>
              </a:spcAft>
              <a:defRPr sz="2400"/>
            </a:lvl1pPr>
            <a:lvl2pPr>
              <a:spcAft>
                <a:spcPts val="600"/>
              </a:spcAft>
              <a:defRPr sz="2400"/>
            </a:lvl2pPr>
            <a:lvl3pPr marL="432000" indent="-432000">
              <a:spcAft>
                <a:spcPts val="600"/>
              </a:spcAft>
              <a:defRPr sz="1800"/>
            </a:lvl3pPr>
            <a:lvl4pPr marL="864000" indent="-432000">
              <a:spcAft>
                <a:spcPts val="600"/>
              </a:spcAft>
              <a:defRPr sz="1800"/>
            </a:lvl4pPr>
            <a:lvl5pPr marL="1296000" indent="-432000">
              <a:spcAft>
                <a:spcPts val="600"/>
              </a:spcAft>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361199" y="1692000"/>
            <a:ext cx="5292000" cy="4428000"/>
          </a:xfrm>
        </p:spPr>
        <p:txBody>
          <a:bodyPr>
            <a:noAutofit/>
          </a:bodyPr>
          <a:lstStyle>
            <a:lvl1pPr>
              <a:spcAft>
                <a:spcPts val="600"/>
              </a:spcAft>
              <a:defRPr sz="2400"/>
            </a:lvl1pPr>
            <a:lvl2pPr>
              <a:spcAft>
                <a:spcPts val="600"/>
              </a:spcAft>
              <a:defRPr sz="2400"/>
            </a:lvl2pPr>
            <a:lvl3pPr marL="324000" indent="-324000">
              <a:spcAft>
                <a:spcPts val="600"/>
              </a:spcAft>
              <a:defRPr sz="1800"/>
            </a:lvl3pPr>
            <a:lvl4pPr marL="648000" indent="-324000">
              <a:spcAft>
                <a:spcPts val="600"/>
              </a:spcAft>
              <a:defRPr sz="1800"/>
            </a:lvl4pPr>
            <a:lvl5pPr marL="972000" indent="-324000">
              <a:spcAft>
                <a:spcPts val="600"/>
              </a:spcAft>
              <a:defRPr sz="1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089157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5292000" cy="4428000"/>
          </a:xfrm>
        </p:spPr>
        <p:txBody>
          <a:bodyPr>
            <a:noAutofit/>
          </a:bodyPr>
          <a:lstStyle>
            <a:lvl1pPr>
              <a:spcAft>
                <a:spcPts val="0"/>
              </a:spcAft>
              <a:defRPr sz="1600"/>
            </a:lvl1pPr>
            <a:lvl2pPr>
              <a:spcAft>
                <a:spcPts val="0"/>
              </a:spcAft>
              <a:defRPr sz="1600"/>
            </a:lvl2pPr>
            <a:lvl3pPr indent="-288000">
              <a:spcAft>
                <a:spcPts val="0"/>
              </a:spcAft>
              <a:defRPr sz="1600"/>
            </a:lvl3pPr>
            <a:lvl4pPr marL="576000" indent="-288000">
              <a:spcAft>
                <a:spcPts val="0"/>
              </a:spcAft>
              <a:defRPr sz="1600"/>
            </a:lvl4pPr>
            <a:lvl5pPr marL="864000" indent="-288000">
              <a:spcAft>
                <a:spcPts val="0"/>
              </a:spcAft>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361199" y="1692000"/>
            <a:ext cx="5292000" cy="4428000"/>
          </a:xfrm>
        </p:spPr>
        <p:txBody>
          <a:bodyPr>
            <a:noAutofit/>
          </a:bodyPr>
          <a:lstStyle>
            <a:lvl1pPr>
              <a:spcAft>
                <a:spcPts val="0"/>
              </a:spcAft>
              <a:defRPr sz="1600"/>
            </a:lvl1pPr>
            <a:lvl2pPr>
              <a:spcAft>
                <a:spcPts val="0"/>
              </a:spcAft>
              <a:defRPr sz="1600"/>
            </a:lvl2pPr>
            <a:lvl3pPr indent="-288000">
              <a:spcAft>
                <a:spcPts val="0"/>
              </a:spcAft>
              <a:defRPr sz="1600"/>
            </a:lvl3pPr>
            <a:lvl4pPr marL="576000" indent="-288000">
              <a:spcAft>
                <a:spcPts val="0"/>
              </a:spcAft>
              <a:defRPr sz="1600"/>
            </a:lvl4pPr>
            <a:lvl5pPr marL="864000" indent="-288000">
              <a:spcAft>
                <a:spcPts val="0"/>
              </a:spcAft>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370297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3564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314599" y="1692000"/>
            <a:ext cx="3564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8089199" y="1692000"/>
            <a:ext cx="3564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582274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Royal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3145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80891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8" name="TextBox 17"/>
          <p:cNvSpPr txBox="1">
            <a:spLocks/>
          </p:cNvSpPr>
          <p:nvPr userDrawn="1"/>
        </p:nvSpPr>
        <p:spPr>
          <a:xfrm>
            <a:off x="8909999" y="6400237"/>
            <a:ext cx="2743200" cy="246221"/>
          </a:xfrm>
          <a:prstGeom prst="rect">
            <a:avLst/>
          </a:prstGeom>
        </p:spPr>
        <p:txBody>
          <a:bodyPr vert="horz" lIns="0" tIns="45720" rIns="0" bIns="45720" rtlCol="0" anchor="ctr">
            <a:noAutofit/>
          </a:bodyPr>
          <a:lstStyle>
            <a:defPPr>
              <a:defRPr lang="en-US"/>
            </a:defPPr>
            <a:lvl1pPr algn="r">
              <a:defRPr sz="1000">
                <a:solidFill>
                  <a:schemeClr val="accent1"/>
                </a:solidFill>
              </a:defRPr>
            </a:lvl1pPr>
          </a:lstStyle>
          <a:p>
            <a:pPr lvl="0"/>
            <a:fld id="{377EB79C-4237-4EDF-B16A-CF67A8C936B9}" type="slidenum">
              <a:rPr lang="en-GB" sz="1100" noProof="0" smtClean="0">
                <a:solidFill>
                  <a:schemeClr val="tx1"/>
                </a:solidFill>
              </a:rPr>
              <a:pPr lvl="0"/>
              <a:t>‹#›</a:t>
            </a:fld>
            <a:endParaRPr lang="en-GB" sz="1100" noProof="0" dirty="0">
              <a:solidFill>
                <a:schemeClr val="tx1"/>
              </a:solidFill>
            </a:endParaRPr>
          </a:p>
        </p:txBody>
      </p:sp>
      <p:cxnSp>
        <p:nvCxnSpPr>
          <p:cNvPr id="19" name="Straight Connector 18"/>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Tree>
    <p:extLst>
      <p:ext uri="{BB962C8B-B14F-4D97-AF65-F5344CB8AC3E}">
        <p14:creationId xmlns:p14="http://schemas.microsoft.com/office/powerpoint/2010/main" val="487717750"/>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3145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8089199" y="1692000"/>
            <a:ext cx="3564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8" name="TextBox 17"/>
          <p:cNvSpPr txBox="1">
            <a:spLocks/>
          </p:cNvSpPr>
          <p:nvPr userDrawn="1"/>
        </p:nvSpPr>
        <p:spPr>
          <a:xfrm>
            <a:off x="8909999" y="6400237"/>
            <a:ext cx="2743200" cy="246221"/>
          </a:xfrm>
          <a:prstGeom prst="rect">
            <a:avLst/>
          </a:prstGeom>
        </p:spPr>
        <p:txBody>
          <a:bodyPr vert="horz" lIns="0" tIns="45720" rIns="0" bIns="45720" rtlCol="0" anchor="ctr">
            <a:noAutofit/>
          </a:bodyPr>
          <a:lstStyle>
            <a:defPPr>
              <a:defRPr lang="en-US"/>
            </a:defPPr>
            <a:lvl1pPr algn="r">
              <a:defRPr sz="1000">
                <a:solidFill>
                  <a:schemeClr val="accent1"/>
                </a:solidFill>
              </a:defRPr>
            </a:lvl1pPr>
          </a:lstStyle>
          <a:p>
            <a:pPr lvl="0"/>
            <a:fld id="{377EB79C-4237-4EDF-B16A-CF67A8C936B9}" type="slidenum">
              <a:rPr lang="en-GB" sz="1100" noProof="0" smtClean="0">
                <a:solidFill>
                  <a:schemeClr val="tx1"/>
                </a:solidFill>
              </a:rPr>
              <a:pPr lvl="0"/>
              <a:t>‹#›</a:t>
            </a:fld>
            <a:endParaRPr lang="en-GB" sz="1100" noProof="0" dirty="0">
              <a:solidFill>
                <a:schemeClr val="tx1"/>
              </a:solidFill>
            </a:endParaRPr>
          </a:p>
        </p:txBody>
      </p:sp>
      <p:cxnSp>
        <p:nvCxnSpPr>
          <p:cNvPr id="19" name="Straight Connector 18"/>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Tree>
    <p:extLst>
      <p:ext uri="{BB962C8B-B14F-4D97-AF65-F5344CB8AC3E}">
        <p14:creationId xmlns:p14="http://schemas.microsoft.com/office/powerpoint/2010/main" val="257616558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54684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184200" y="1692000"/>
            <a:ext cx="5468400"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6184200" y="3996000"/>
            <a:ext cx="5468400"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207052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3564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314599" y="1692000"/>
            <a:ext cx="73386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2884358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3564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314599" y="1692000"/>
            <a:ext cx="7338600" cy="2124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4314599" y="3996000"/>
            <a:ext cx="7338600" cy="2124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529299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999" y="540000"/>
            <a:ext cx="11113200" cy="972000"/>
          </a:xfrm>
        </p:spPr>
        <p:txBody>
          <a:bodyPr>
            <a:noAutofit/>
          </a:bodyPr>
          <a:lstStyle>
            <a:lvl1pPr>
              <a:defRPr/>
            </a:lvl1pPr>
          </a:lstStyle>
          <a:p>
            <a:r>
              <a:rPr lang="en-GB" dirty="0" smtClean="0"/>
              <a:t>Disclaimer</a:t>
            </a:r>
            <a:endParaRPr lang="en-GB" dirty="0"/>
          </a:p>
        </p:txBody>
      </p:sp>
      <p:sp>
        <p:nvSpPr>
          <p:cNvPr id="4" name="Date Placeholder 3"/>
          <p:cNvSpPr>
            <a:spLocks noGrp="1"/>
          </p:cNvSpPr>
          <p:nvPr>
            <p:ph type="dt" sz="half" idx="14"/>
          </p:nvPr>
        </p:nvSpPr>
        <p:spPr/>
        <p:txBody>
          <a:bodyPr/>
          <a:lstStyle/>
          <a:p>
            <a:fld id="{F1D55560-F4EA-4ADB-B6B4-67CD9ED41669}" type="datetime1">
              <a:rPr lang="en-GB" smtClean="0"/>
              <a:t>16/08/2018</a:t>
            </a:fld>
            <a:endParaRPr lang="en-GB" dirty="0"/>
          </a:p>
        </p:txBody>
      </p:sp>
      <p:sp>
        <p:nvSpPr>
          <p:cNvPr id="5" name="Footer Placeholder 4"/>
          <p:cNvSpPr>
            <a:spLocks noGrp="1"/>
          </p:cNvSpPr>
          <p:nvPr>
            <p:ph type="ftr" sz="quarter" idx="15"/>
          </p:nvPr>
        </p:nvSpPr>
        <p:spPr/>
        <p:txBody>
          <a:bodyPr/>
          <a:lstStyle/>
          <a:p>
            <a:r>
              <a:rPr lang="en-GB" smtClean="0"/>
              <a:t>© Lloyd’s</a:t>
            </a:r>
            <a:endParaRPr lang="en-GB" dirty="0"/>
          </a:p>
        </p:txBody>
      </p:sp>
      <p:sp>
        <p:nvSpPr>
          <p:cNvPr id="8" name="Rectangle 7"/>
          <p:cNvSpPr/>
          <p:nvPr userDrawn="1"/>
        </p:nvSpPr>
        <p:spPr>
          <a:xfrm>
            <a:off x="540000" y="1692000"/>
            <a:ext cx="11113200" cy="442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600"/>
              </a:spcBef>
              <a:spcAft>
                <a:spcPts val="600"/>
              </a:spcAft>
            </a:pPr>
            <a:r>
              <a:rPr lang="en-GB" dirty="0" smtClean="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600"/>
              </a:spcBef>
              <a:spcAft>
                <a:spcPts val="600"/>
              </a:spcAft>
            </a:pPr>
            <a:r>
              <a:rPr lang="en-GB" dirty="0" smtClean="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18084320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314000" y="1692000"/>
            <a:ext cx="3564000" cy="4428000"/>
          </a:xfrm>
        </p:spPr>
        <p:txBody>
          <a:bodyPr tIns="72000"/>
          <a:lstStyle>
            <a:lvl1pPr>
              <a:spcBef>
                <a:spcPts val="300"/>
              </a:spcBef>
              <a:spcAft>
                <a:spcPts val="300"/>
              </a:spcAft>
              <a:tabLst>
                <a:tab pos="3489325" algn="r"/>
              </a:tabLst>
              <a:defRPr>
                <a:solidFill>
                  <a:schemeClr val="accent1"/>
                </a:solidFill>
              </a:defRPr>
            </a:lvl1pPr>
            <a:lvl2pPr>
              <a:spcBef>
                <a:spcPts val="300"/>
              </a:spcBef>
              <a:spcAft>
                <a:spcPts val="300"/>
              </a:spcAft>
              <a:tabLst>
                <a:tab pos="3505200" algn="r"/>
              </a:tabLst>
              <a:defRPr/>
            </a:lvl2pPr>
            <a:lvl3pPr>
              <a:tabLst>
                <a:tab pos="3505200" algn="r"/>
              </a:tabLst>
              <a:defRPr/>
            </a:lvl3pPr>
            <a:lvl4pPr>
              <a:tabLst>
                <a:tab pos="3505200" algn="r"/>
              </a:tabLst>
              <a:defRPr/>
            </a:lvl4pPr>
            <a:lvl5pPr>
              <a:tabLst>
                <a:tab pos="3505200"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noProof="0" smtClean="0"/>
              <a:t>16/08/2018</a:t>
            </a:fld>
            <a:endParaRPr lang="en-GB" noProof="0" dirty="0"/>
          </a:p>
        </p:txBody>
      </p:sp>
      <p:sp>
        <p:nvSpPr>
          <p:cNvPr id="5" name="Footer Placeholder 4"/>
          <p:cNvSpPr>
            <a:spLocks noGrp="1"/>
          </p:cNvSpPr>
          <p:nvPr>
            <p:ph type="ftr" sz="quarter" idx="15"/>
          </p:nvPr>
        </p:nvSpPr>
        <p:spPr/>
        <p:txBody>
          <a:bodyPr/>
          <a:lstStyle/>
          <a:p>
            <a:r>
              <a:rPr lang="en-GB" noProof="0" dirty="0" smtClean="0"/>
              <a:t>© Lloyd’s</a:t>
            </a:r>
            <a:endParaRPr lang="en-GB" noProof="0" dirty="0"/>
          </a:p>
        </p:txBody>
      </p:sp>
      <p:sp>
        <p:nvSpPr>
          <p:cNvPr id="9" name="Content Placeholder 2"/>
          <p:cNvSpPr>
            <a:spLocks noGrp="1"/>
          </p:cNvSpPr>
          <p:nvPr>
            <p:ph idx="16"/>
          </p:nvPr>
        </p:nvSpPr>
        <p:spPr>
          <a:xfrm>
            <a:off x="8088600" y="1692000"/>
            <a:ext cx="3564000" cy="4428000"/>
          </a:xfrm>
        </p:spPr>
        <p:txBody>
          <a:bodyPr tIns="72000"/>
          <a:lstStyle>
            <a:lvl1pPr>
              <a:spcBef>
                <a:spcPts val="300"/>
              </a:spcBef>
              <a:spcAft>
                <a:spcPts val="300"/>
              </a:spcAft>
              <a:tabLst>
                <a:tab pos="3489325" algn="r"/>
              </a:tabLst>
              <a:defRPr>
                <a:solidFill>
                  <a:schemeClr val="accent1"/>
                </a:solidFill>
              </a:defRPr>
            </a:lvl1pPr>
            <a:lvl2pPr>
              <a:spcBef>
                <a:spcPts val="300"/>
              </a:spcBef>
              <a:spcAft>
                <a:spcPts val="300"/>
              </a:spcAft>
              <a:tabLst>
                <a:tab pos="3489325" algn="r"/>
              </a:tabLst>
              <a:defRPr/>
            </a:lvl2pPr>
            <a:lvl3pPr>
              <a:tabLst>
                <a:tab pos="3489325" algn="r"/>
              </a:tabLst>
              <a:defRPr/>
            </a:lvl3pPr>
            <a:lvl4pPr>
              <a:tabLst>
                <a:tab pos="3489325" algn="r"/>
              </a:tabLst>
              <a:defRPr/>
            </a:lvl4pPr>
            <a:lvl5pPr>
              <a:tabLst>
                <a:tab pos="3489325"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0" name="Title 1"/>
          <p:cNvSpPr txBox="1">
            <a:spLocks/>
          </p:cNvSpPr>
          <p:nvPr/>
        </p:nvSpPr>
        <p:spPr>
          <a:xfrm>
            <a:off x="539400" y="1692000"/>
            <a:ext cx="3564000" cy="972000"/>
          </a:xfrm>
          <a:prstGeom prst="rect">
            <a:avLst/>
          </a:prstGeom>
        </p:spPr>
        <p:txBody>
          <a:bodyPr vert="horz" lIns="0" tIns="72000" rIns="0" bIns="7200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noProof="0" dirty="0" smtClean="0"/>
              <a:t>Contents</a:t>
            </a:r>
            <a:endParaRPr lang="en-GB" noProof="0" dirty="0"/>
          </a:p>
        </p:txBody>
      </p:sp>
    </p:spTree>
    <p:extLst>
      <p:ext uri="{BB962C8B-B14F-4D97-AF65-F5344CB8AC3E}">
        <p14:creationId xmlns:p14="http://schemas.microsoft.com/office/powerpoint/2010/main" val="39055754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43800" y="2685574"/>
            <a:ext cx="3704400" cy="1486853"/>
          </a:xfrm>
          <a:prstGeom prst="rect">
            <a:avLst/>
          </a:prstGeom>
        </p:spPr>
      </p:pic>
    </p:spTree>
    <p:extLst>
      <p:ext uri="{BB962C8B-B14F-4D97-AF65-F5344CB8AC3E}">
        <p14:creationId xmlns:p14="http://schemas.microsoft.com/office/powerpoint/2010/main" val="3219270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600" y="0"/>
            <a:ext cx="12193200" cy="6858000"/>
          </a:xfrm>
        </p:spPr>
        <p:txBody>
          <a:bodyPr/>
          <a:lstStyle/>
          <a:p>
            <a:r>
              <a:rPr lang="en-US" noProof="0" smtClean="0"/>
              <a:t>Click icon to add picture</a:t>
            </a:r>
            <a:endParaRPr lang="en-GB" noProof="0" dirty="0"/>
          </a:p>
        </p:txBody>
      </p:sp>
      <p:sp>
        <p:nvSpPr>
          <p:cNvPr id="2" name="Title 1"/>
          <p:cNvSpPr>
            <a:spLocks noGrp="1"/>
          </p:cNvSpPr>
          <p:nvPr>
            <p:ph type="title"/>
          </p:nvPr>
        </p:nvSpPr>
        <p:spPr>
          <a:xfrm>
            <a:off x="540000" y="1511300"/>
            <a:ext cx="11112500" cy="698500"/>
          </a:xfrm>
        </p:spPr>
        <p:txBody>
          <a:bodyPr anchor="t" anchorCtr="0">
            <a:noAutofit/>
          </a:bodyPr>
          <a:lstStyle>
            <a:lvl1pPr>
              <a:defRPr sz="4000"/>
            </a:lvl1pPr>
            <a:lvl2pPr>
              <a:lnSpc>
                <a:spcPct val="90000"/>
              </a:lnSpc>
              <a:defRPr sz="4000">
                <a:solidFill>
                  <a:schemeClr val="bg1"/>
                </a:solidFill>
                <a:latin typeface="+mj-lt"/>
              </a:defRPr>
            </a:lvl2pPr>
          </a:lstStyle>
          <a:p>
            <a:pPr lvl="0"/>
            <a:r>
              <a:rPr lang="en-US" noProof="0" smtClean="0"/>
              <a:t>Click to edit Master title style</a:t>
            </a:r>
            <a:endParaRPr lang="en-GB" noProof="0" dirty="0"/>
          </a:p>
        </p:txBody>
      </p:sp>
      <p:sp>
        <p:nvSpPr>
          <p:cNvPr id="3" name="Text Placeholder 2"/>
          <p:cNvSpPr>
            <a:spLocks noGrp="1"/>
          </p:cNvSpPr>
          <p:nvPr>
            <p:ph type="body" idx="1"/>
          </p:nvPr>
        </p:nvSpPr>
        <p:spPr>
          <a:xfrm>
            <a:off x="540000" y="2232000"/>
            <a:ext cx="11112500" cy="369332"/>
          </a:xfrm>
        </p:spPr>
        <p:txBody>
          <a:bodyPr>
            <a:spAutoFit/>
          </a:bodyPr>
          <a:lstStyle>
            <a:lvl1pPr marL="0" indent="0">
              <a:buNone/>
              <a:defRPr sz="2400">
                <a:solidFill>
                  <a:schemeClr val="tx1"/>
                </a:solidFill>
              </a:defRPr>
            </a:lvl1pPr>
            <a:lvl2pPr marL="0" indent="0">
              <a:spcBef>
                <a:spcPts val="1200"/>
              </a:spcBef>
              <a:buNone/>
              <a:defRPr sz="240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0"/>
          </p:nvPr>
        </p:nvSpPr>
        <p:spPr>
          <a:xfrm>
            <a:off x="5410799" y="6384849"/>
            <a:ext cx="2743200" cy="276999"/>
          </a:xfrm>
        </p:spPr>
        <p:txBody>
          <a:bodyPr/>
          <a:lstStyle>
            <a:lvl2pPr marL="0" algn="ctr">
              <a:defRPr sz="1200">
                <a:solidFill>
                  <a:schemeClr val="bg1"/>
                </a:solidFill>
              </a:defRPr>
            </a:lvl2pPr>
          </a:lstStyle>
          <a:p>
            <a:fld id="{B8639A99-35CC-44AA-BF41-559EFC8F3081}" type="datetime1">
              <a:rPr lang="en-GB" noProof="0" smtClean="0"/>
              <a:pPr/>
              <a:t>16/08/2018</a:t>
            </a:fld>
            <a:endParaRPr lang="en-GB" noProof="0" dirty="0"/>
          </a:p>
        </p:txBody>
      </p:sp>
      <p:sp>
        <p:nvSpPr>
          <p:cNvPr id="5" name="Footer Placeholder 4"/>
          <p:cNvSpPr>
            <a:spLocks noGrp="1"/>
          </p:cNvSpPr>
          <p:nvPr>
            <p:ph type="ftr" sz="quarter" idx="11"/>
          </p:nvPr>
        </p:nvSpPr>
        <p:spPr>
          <a:xfrm>
            <a:off x="539999" y="6384849"/>
            <a:ext cx="4114800" cy="276999"/>
          </a:xfrm>
        </p:spPr>
        <p:txBody>
          <a:bodyPr/>
          <a:lstStyle>
            <a:lvl2pPr marL="0">
              <a:defRPr sz="1200">
                <a:solidFill>
                  <a:schemeClr val="bg1"/>
                </a:solidFill>
              </a:defRPr>
            </a:lvl2pPr>
          </a:lstStyle>
          <a:p>
            <a:r>
              <a:rPr lang="en-GB" noProof="0" dirty="0" smtClean="0"/>
              <a:t>© Lloyd’s</a:t>
            </a:r>
            <a:endParaRPr lang="en-GB" noProof="0" dirty="0"/>
          </a:p>
        </p:txBody>
      </p:sp>
    </p:spTree>
    <p:extLst>
      <p:ext uri="{BB962C8B-B14F-4D97-AF65-F5344CB8AC3E}">
        <p14:creationId xmlns:p14="http://schemas.microsoft.com/office/powerpoint/2010/main" val="2437099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p>
            <a:r>
              <a:rPr lang="en-US" noProof="0" smtClean="0"/>
              <a:t>Click to edit Master title style</a:t>
            </a:r>
            <a:endParaRPr lang="en-GB" noProof="0" dirty="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p>
            <a:fld id="{51452A44-05C1-47E6-A00D-5D45C4F2C789}" type="datetime1">
              <a:rPr lang="en-GB" noProof="0" smtClean="0"/>
              <a:t>16/08/2018</a:t>
            </a:fld>
            <a:endParaRPr lang="en-GB" noProof="0" dirty="0"/>
          </a:p>
        </p:txBody>
      </p:sp>
      <p:sp>
        <p:nvSpPr>
          <p:cNvPr id="5" name="Footer Placeholder 4"/>
          <p:cNvSpPr>
            <a:spLocks noGrp="1"/>
          </p:cNvSpPr>
          <p:nvPr>
            <p:ph type="ftr" sz="quarter" idx="15"/>
          </p:nvPr>
        </p:nvSpPr>
        <p:spPr/>
        <p:txBody>
          <a:bodyPr/>
          <a:lstStyle/>
          <a:p>
            <a:r>
              <a:rPr lang="en-GB" noProof="0" dirty="0" smtClean="0"/>
              <a:t>© Lloyd’s</a:t>
            </a:r>
            <a:endParaRPr lang="en-GB" noProof="0" dirty="0"/>
          </a:p>
        </p:txBody>
      </p:sp>
    </p:spTree>
    <p:extLst>
      <p:ext uri="{BB962C8B-B14F-4D97-AF65-F5344CB8AC3E}">
        <p14:creationId xmlns:p14="http://schemas.microsoft.com/office/powerpoint/2010/main" val="20598350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539999" y="1692000"/>
            <a:ext cx="5376614"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275388" y="1692000"/>
            <a:ext cx="5377811"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16/08/2018</a:t>
            </a:fld>
            <a:endParaRPr lang="en-GB" noProof="0" dirty="0"/>
          </a:p>
        </p:txBody>
      </p:sp>
      <p:sp>
        <p:nvSpPr>
          <p:cNvPr id="6" name="Footer Placeholder 5"/>
          <p:cNvSpPr>
            <a:spLocks noGrp="1"/>
          </p:cNvSpPr>
          <p:nvPr>
            <p:ph type="ftr" sz="quarter" idx="11"/>
          </p:nvPr>
        </p:nvSpPr>
        <p:spPr/>
        <p:txBody>
          <a:bodyPr/>
          <a:lstStyle/>
          <a:p>
            <a:r>
              <a:rPr lang="en-GB" noProof="0" dirty="0" smtClean="0"/>
              <a:t>© Lloyd’s</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564782796"/>
      </p:ext>
    </p:extLst>
  </p:cSld>
  <p:clrMapOvr>
    <a:masterClrMapping/>
  </p:clrMapOvr>
  <p:extLst mod="1">
    <p:ext uri="{DCECCB84-F9BA-43D5-87BE-67443E8EF086}">
      <p15:sldGuideLst xmlns:p15="http://schemas.microsoft.com/office/powerpoint/2012/main" xmlns="">
        <p15:guide id="0" pos="3727" userDrawn="1">
          <p15:clr>
            <a:srgbClr val="FBAE40"/>
          </p15:clr>
        </p15:guide>
        <p15:guide id="1" pos="39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16/08/2018</a:t>
            </a:fld>
            <a:endParaRPr lang="en-GB" noProof="0" dirty="0"/>
          </a:p>
        </p:txBody>
      </p:sp>
      <p:sp>
        <p:nvSpPr>
          <p:cNvPr id="4" name="Footer Placeholder 3"/>
          <p:cNvSpPr>
            <a:spLocks noGrp="1"/>
          </p:cNvSpPr>
          <p:nvPr>
            <p:ph type="ftr" sz="quarter" idx="11"/>
          </p:nvPr>
        </p:nvSpPr>
        <p:spPr/>
        <p:txBody>
          <a:bodyPr/>
          <a:lstStyle/>
          <a:p>
            <a:r>
              <a:rPr lang="en-GB" noProof="0" dirty="0" smtClean="0"/>
              <a:t>© Lloyd’s</a:t>
            </a:r>
            <a:endParaRPr lang="en-GB" noProof="0" dirty="0"/>
          </a:p>
        </p:txBody>
      </p:sp>
      <p:sp>
        <p:nvSpPr>
          <p:cNvPr id="6"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12896879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a:xfrm>
            <a:off x="300789" y="1227221"/>
            <a:ext cx="11658600" cy="51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smtClean="0"/>
          </a:p>
        </p:txBody>
      </p:sp>
    </p:spTree>
    <p:extLst>
      <p:ext uri="{BB962C8B-B14F-4D97-AF65-F5344CB8AC3E}">
        <p14:creationId xmlns:p14="http://schemas.microsoft.com/office/powerpoint/2010/main" val="34607312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p>
            <a:r>
              <a:rPr lang="en-US" noProof="0" smtClean="0"/>
              <a:t>Click to edit Master title style</a:t>
            </a:r>
            <a:endParaRPr lang="en-GB" noProof="0" dirty="0"/>
          </a:p>
        </p:txBody>
      </p:sp>
      <p:sp>
        <p:nvSpPr>
          <p:cNvPr id="3" name="Content Placeholder 2"/>
          <p:cNvSpPr>
            <a:spLocks noGrp="1"/>
          </p:cNvSpPr>
          <p:nvPr>
            <p:ph idx="1"/>
          </p:nvPr>
        </p:nvSpPr>
        <p:spPr/>
        <p:txBody>
          <a:bodyPr/>
          <a:lstStyle>
            <a:lvl1pPr>
              <a:spcBef>
                <a:spcPts val="1200"/>
              </a:spcBef>
              <a:defRPr sz="3000"/>
            </a:lvl1pPr>
            <a:lvl2pPr>
              <a:spcBef>
                <a:spcPts val="600"/>
              </a:spcBef>
              <a:defRPr sz="3000"/>
            </a:lvl2pPr>
            <a:lvl3pPr marL="504000" indent="-504000">
              <a:spcBef>
                <a:spcPts val="0"/>
              </a:spcBef>
              <a:defRPr sz="2400"/>
            </a:lvl3pPr>
            <a:lvl4pPr marL="1008000" indent="-504000">
              <a:spcBef>
                <a:spcPts val="0"/>
              </a:spcBef>
              <a:defRPr sz="2400"/>
            </a:lvl4pPr>
            <a:lvl5pPr marL="1512000" indent="-504000">
              <a:spcBef>
                <a:spcPts val="0"/>
              </a:spcBef>
              <a:defRPr sz="2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p>
            <a:fld id="{78D130F4-81C5-483D-8FDB-27A7F24B83F4}" type="datetime1">
              <a:rPr lang="en-GB" noProof="0" smtClean="0"/>
              <a:t>16/08/2018</a:t>
            </a:fld>
            <a:endParaRPr lang="en-GB" noProof="0" dirty="0"/>
          </a:p>
        </p:txBody>
      </p:sp>
      <p:sp>
        <p:nvSpPr>
          <p:cNvPr id="5" name="Footer Placeholder 4"/>
          <p:cNvSpPr>
            <a:spLocks noGrp="1"/>
          </p:cNvSpPr>
          <p:nvPr>
            <p:ph type="ftr" sz="quarter" idx="15"/>
          </p:nvPr>
        </p:nvSpPr>
        <p:spPr/>
        <p:txBody>
          <a:bodyPr/>
          <a:lstStyle/>
          <a:p>
            <a:r>
              <a:rPr lang="en-GB" noProof="0" dirty="0" smtClean="0"/>
              <a:t>© Lloyd’s</a:t>
            </a:r>
            <a:endParaRPr lang="en-GB" noProof="0" dirty="0"/>
          </a:p>
        </p:txBody>
      </p:sp>
    </p:spTree>
    <p:extLst>
      <p:ext uri="{BB962C8B-B14F-4D97-AF65-F5344CB8AC3E}">
        <p14:creationId xmlns:p14="http://schemas.microsoft.com/office/powerpoint/2010/main" val="28457884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lvl1pPr>
              <a:defRPr>
                <a:solidFill>
                  <a:schemeClr val="bg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3000">
                <a:solidFill>
                  <a:schemeClr val="bg1"/>
                </a:solidFill>
              </a:defRPr>
            </a:lvl1pPr>
            <a:lvl2pPr>
              <a:spcBef>
                <a:spcPts val="600"/>
              </a:spcBef>
              <a:defRPr sz="3000">
                <a:solidFill>
                  <a:schemeClr val="bg1"/>
                </a:solidFill>
              </a:defRPr>
            </a:lvl2pPr>
            <a:lvl3pPr marL="504000" indent="-504000">
              <a:spcBef>
                <a:spcPts val="0"/>
              </a:spcBef>
              <a:defRPr sz="2400">
                <a:solidFill>
                  <a:schemeClr val="bg1"/>
                </a:solidFill>
              </a:defRPr>
            </a:lvl3pPr>
            <a:lvl4pPr marL="1008000" indent="-504000">
              <a:spcBef>
                <a:spcPts val="0"/>
              </a:spcBef>
              <a:defRPr sz="2400">
                <a:solidFill>
                  <a:schemeClr val="bg1"/>
                </a:solidFill>
              </a:defRPr>
            </a:lvl4pPr>
            <a:lvl5pPr marL="1512000" indent="-504000">
              <a:spcBef>
                <a:spcPts val="0"/>
              </a:spcBef>
              <a:defRPr sz="240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2000">
                <a:solidFill>
                  <a:schemeClr val="bg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16/08/2018</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dirty="0" smtClean="0"/>
              <a:t>© Lloyd’s</a:t>
            </a:r>
            <a:endParaRPr lang="en-GB" noProof="0" dirty="0"/>
          </a:p>
        </p:txBody>
      </p:sp>
      <p:cxnSp>
        <p:nvCxnSpPr>
          <p:cNvPr id="19" name="Straight Connector 18"/>
          <p:cNvCxnSpPr/>
          <p:nvPr userDrawn="1"/>
        </p:nvCxnSpPr>
        <p:spPr>
          <a:xfrm>
            <a:off x="539400" y="540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userDrawn="1"/>
        </p:nvSpPr>
        <p:spPr>
          <a:xfrm>
            <a:off x="8909999" y="6400237"/>
            <a:ext cx="2743200" cy="246221"/>
          </a:xfrm>
          <a:prstGeom prst="rect">
            <a:avLst/>
          </a:prstGeom>
        </p:spPr>
        <p:txBody>
          <a:bodyPr vert="horz" lIns="0" tIns="45720" rIns="0" bIns="45720" rtlCol="0" anchor="ctr">
            <a:noAutofit/>
          </a:bodyPr>
          <a:lstStyle>
            <a:defPPr>
              <a:defRPr lang="en-US"/>
            </a:defPPr>
            <a:lvl1pPr algn="r">
              <a:defRPr sz="1000">
                <a:solidFill>
                  <a:schemeClr val="accent1"/>
                </a:solidFill>
              </a:defRPr>
            </a:lvl1pPr>
          </a:lstStyle>
          <a:p>
            <a:pPr lvl="0"/>
            <a:fld id="{377EB79C-4237-4EDF-B16A-CF67A8C936B9}" type="slidenum">
              <a:rPr lang="en-GB" sz="1100" noProof="0" smtClean="0">
                <a:solidFill>
                  <a:schemeClr val="bg1"/>
                </a:solidFill>
              </a:rPr>
              <a:pPr lvl="0"/>
              <a:t>‹#›</a:t>
            </a:fld>
            <a:endParaRPr lang="en-GB" sz="1100" noProof="0" dirty="0">
              <a:solidFill>
                <a:schemeClr val="bg1"/>
              </a:solidFill>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Tree>
    <p:extLst>
      <p:ext uri="{BB962C8B-B14F-4D97-AF65-F5344CB8AC3E}">
        <p14:creationId xmlns:p14="http://schemas.microsoft.com/office/powerpoint/2010/main" val="7753214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13200" cy="972000"/>
          </a:xfrm>
          <a:prstGeom prst="rect">
            <a:avLst/>
          </a:prstGeom>
        </p:spPr>
        <p:txBody>
          <a:bodyPr vert="horz" lIns="0" tIns="72000" rIns="0" bIns="72000" rtlCol="0" anchor="t">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539400" y="1692000"/>
            <a:ext cx="11113200" cy="44280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5410799" y="6384849"/>
            <a:ext cx="2743200" cy="276999"/>
          </a:xfrm>
          <a:prstGeom prst="rect">
            <a:avLst/>
          </a:prstGeom>
        </p:spPr>
        <p:txBody>
          <a:bodyPr vert="horz" lIns="0" tIns="45720" rIns="0" bIns="45720" rtlCol="0" anchor="ctr">
            <a:spAutoFit/>
          </a:bodyPr>
          <a:lstStyle>
            <a:lvl1pPr algn="ctr">
              <a:defRPr lang="en-GB" sz="1200" smtClean="0">
                <a:solidFill>
                  <a:schemeClr val="accent1"/>
                </a:solidFill>
              </a:defRPr>
            </a:lvl1pPr>
          </a:lstStyle>
          <a:p>
            <a:fld id="{E44AED3E-B587-44A9-B410-C0F28F70B84D}" type="datetime1">
              <a:rPr lang="en-GB" noProof="0" smtClean="0"/>
              <a:t>16/08/2018</a:t>
            </a:fld>
            <a:endParaRPr lang="en-GB" noProof="0" dirty="0"/>
          </a:p>
        </p:txBody>
      </p:sp>
      <p:sp>
        <p:nvSpPr>
          <p:cNvPr id="5" name="Footer Placeholder 4"/>
          <p:cNvSpPr>
            <a:spLocks noGrp="1"/>
          </p:cNvSpPr>
          <p:nvPr>
            <p:ph type="ftr" sz="quarter" idx="3"/>
          </p:nvPr>
        </p:nvSpPr>
        <p:spPr>
          <a:xfrm>
            <a:off x="539999" y="6384849"/>
            <a:ext cx="4114800" cy="276999"/>
          </a:xfrm>
          <a:prstGeom prst="rect">
            <a:avLst/>
          </a:prstGeom>
        </p:spPr>
        <p:txBody>
          <a:bodyPr vert="horz" lIns="0" tIns="45720" rIns="0" bIns="45720" rtlCol="0" anchor="ctr">
            <a:spAutoFit/>
          </a:bodyPr>
          <a:lstStyle>
            <a:lvl1pPr algn="l">
              <a:defRPr lang="en-GB" sz="1200">
                <a:solidFill>
                  <a:schemeClr val="accent1"/>
                </a:solidFill>
              </a:defRPr>
            </a:lvl1pPr>
          </a:lstStyle>
          <a:p>
            <a:r>
              <a:rPr lang="en-GB" noProof="0" dirty="0" smtClean="0"/>
              <a:t>© Lloyd’s</a:t>
            </a:r>
            <a:endParaRPr lang="en-GB" noProof="0" dirty="0"/>
          </a:p>
        </p:txBody>
      </p:sp>
      <p:sp>
        <p:nvSpPr>
          <p:cNvPr id="17" name="TextBox 16"/>
          <p:cNvSpPr txBox="1">
            <a:spLocks/>
          </p:cNvSpPr>
          <p:nvPr/>
        </p:nvSpPr>
        <p:spPr>
          <a:xfrm>
            <a:off x="8909999" y="6400237"/>
            <a:ext cx="2743200" cy="246221"/>
          </a:xfrm>
          <a:prstGeom prst="rect">
            <a:avLst/>
          </a:prstGeom>
        </p:spPr>
        <p:txBody>
          <a:bodyPr vert="horz" lIns="0" tIns="45720" rIns="0" bIns="4572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accent1"/>
                </a:solidFill>
              </a:rPr>
              <a:pPr lvl="0"/>
              <a:t>‹#›</a:t>
            </a:fld>
            <a:endParaRPr lang="en-GB" sz="1200" noProof="0" dirty="0">
              <a:solidFill>
                <a:schemeClr val="accent1"/>
              </a:solidFill>
            </a:endParaRPr>
          </a:p>
        </p:txBody>
      </p:sp>
      <p:pic>
        <p:nvPicPr>
          <p:cNvPr id="24" name="Picture 23"/>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cxnSp>
        <p:nvCxnSpPr>
          <p:cNvPr id="25" name="Straight Connector 24"/>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2"/>
            </p:custDataLst>
          </p:nvPr>
        </p:nvSpPr>
        <p:spPr>
          <a:xfrm>
            <a:off x="-63500" y="-6350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p>
        </p:txBody>
      </p:sp>
    </p:spTree>
    <p:extLst>
      <p:ext uri="{BB962C8B-B14F-4D97-AF65-F5344CB8AC3E}">
        <p14:creationId xmlns:p14="http://schemas.microsoft.com/office/powerpoint/2010/main" val="42695586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35" r:id="rId14"/>
    <p:sldLayoutId id="2147483729" r:id="rId15"/>
    <p:sldLayoutId id="2147483730" r:id="rId16"/>
    <p:sldLayoutId id="2147483731" r:id="rId17"/>
    <p:sldLayoutId id="2147483732" r:id="rId18"/>
    <p:sldLayoutId id="2147483733" r:id="rId19"/>
    <p:sldLayoutId id="2147483734" r:id="rId20"/>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3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spcAft>
          <a:spcPts val="600"/>
        </a:spcAft>
        <a:buFontTx/>
        <a:buNone/>
        <a:defRPr sz="2000"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576000" indent="-288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64000" indent="-288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0" orient="horz" pos="1072" userDrawn="1">
          <p15:clr>
            <a:srgbClr val="F26B43"/>
          </p15:clr>
        </p15:guide>
        <p15:guide id="1" pos="325" userDrawn="1">
          <p15:clr>
            <a:srgbClr val="F26B43"/>
          </p15:clr>
        </p15:guide>
        <p15:guide id="2" orient="horz" pos="3861" userDrawn="1">
          <p15:clr>
            <a:srgbClr val="F26B43"/>
          </p15:clr>
        </p15:guide>
        <p15:guide id="3" pos="3840" userDrawn="1">
          <p15:clr>
            <a:srgbClr val="F26B43"/>
          </p15:clr>
        </p15:guide>
        <p15:guide id="4" pos="7355" userDrawn="1">
          <p15:clr>
            <a:srgbClr val="F26B43"/>
          </p15:clr>
        </p15:guide>
        <p15:guide id="5" orient="horz" pos="346" userDrawn="1">
          <p15:clr>
            <a:srgbClr val="F26B43"/>
          </p15:clr>
        </p15:guide>
        <p15:guide id="6" orient="horz" pos="9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R Best Practice</a:t>
            </a:r>
            <a:endParaRPr lang="en-GB" dirty="0"/>
          </a:p>
        </p:txBody>
      </p:sp>
      <p:sp>
        <p:nvSpPr>
          <p:cNvPr id="3" name="Subtitle 2"/>
          <p:cNvSpPr>
            <a:spLocks noGrp="1"/>
          </p:cNvSpPr>
          <p:nvPr>
            <p:ph type="subTitle" idx="1"/>
          </p:nvPr>
        </p:nvSpPr>
        <p:spPr>
          <a:xfrm>
            <a:off x="539400" y="2232000"/>
            <a:ext cx="11112500" cy="765200"/>
          </a:xfrm>
        </p:spPr>
        <p:txBody>
          <a:bodyPr/>
          <a:lstStyle/>
          <a:p>
            <a:r>
              <a:rPr lang="en-GB" dirty="0" smtClean="0"/>
              <a:t>End-user Computing Standards &amp; Reproducible Analysis</a:t>
            </a:r>
            <a:endParaRPr lang="en-GB" dirty="0" smtClean="0"/>
          </a:p>
          <a:p>
            <a:r>
              <a:rPr lang="en-GB" dirty="0" smtClean="0"/>
              <a:t>16/08/2018</a:t>
            </a:r>
            <a:endParaRPr lang="en-GB" dirty="0" smtClean="0"/>
          </a:p>
        </p:txBody>
      </p:sp>
      <p:sp>
        <p:nvSpPr>
          <p:cNvPr id="4" name="Footer Placeholder 3"/>
          <p:cNvSpPr>
            <a:spLocks noGrp="1"/>
          </p:cNvSpPr>
          <p:nvPr>
            <p:ph type="ftr" sz="quarter" idx="11"/>
          </p:nvPr>
        </p:nvSpPr>
        <p:spPr/>
        <p:txBody>
          <a:bodyPr/>
          <a:lstStyle/>
          <a:p>
            <a:r>
              <a:rPr lang="en-GB" dirty="0" smtClean="0"/>
              <a:t>© Lloyd’s</a:t>
            </a:r>
            <a:endParaRPr lang="en-GB" dirty="0"/>
          </a:p>
        </p:txBody>
      </p:sp>
    </p:spTree>
    <p:custDataLst>
      <p:tags r:id="rId1"/>
    </p:custDataLst>
    <p:extLst>
      <p:ext uri="{BB962C8B-B14F-4D97-AF65-F5344CB8AC3E}">
        <p14:creationId xmlns:p14="http://schemas.microsoft.com/office/powerpoint/2010/main" val="3021547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3177014009"/>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Testing</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556305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3799558500"/>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Reproducibility</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362243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2661570623"/>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Change Control</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26023867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893055306"/>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Access Control</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1350640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2043815760"/>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Motivation</a:t>
            </a:r>
            <a:endParaRPr lang="en-GB" dirty="0"/>
          </a:p>
        </p:txBody>
      </p:sp>
      <p:sp>
        <p:nvSpPr>
          <p:cNvPr id="4" name="Text Placeholder 3"/>
          <p:cNvSpPr>
            <a:spLocks noGrp="1"/>
          </p:cNvSpPr>
          <p:nvPr>
            <p:ph type="body" sz="quarter" idx="13"/>
          </p:nvPr>
        </p:nvSpPr>
        <p:spPr/>
        <p:txBody>
          <a:bodyPr/>
          <a:lstStyle/>
          <a:p>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1409211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tivation</a:t>
            </a:r>
          </a:p>
        </p:txBody>
      </p:sp>
      <p:sp>
        <p:nvSpPr>
          <p:cNvPr id="3" name="Content Placeholder 2"/>
          <p:cNvSpPr>
            <a:spLocks noGrp="1"/>
          </p:cNvSpPr>
          <p:nvPr>
            <p:ph sz="half" idx="1"/>
          </p:nvPr>
        </p:nvSpPr>
        <p:spPr>
          <a:solidFill>
            <a:schemeClr val="accent1"/>
          </a:solidFill>
        </p:spPr>
        <p:txBody>
          <a:bodyPr lIns="180000" tIns="180000" rIns="180000" bIns="180000"/>
          <a:lstStyle/>
          <a:p>
            <a:r>
              <a:rPr lang="en-US" sz="2800" dirty="0">
                <a:solidFill>
                  <a:schemeClr val="bg1"/>
                </a:solidFill>
              </a:rPr>
              <a:t>Produce an </a:t>
            </a:r>
            <a:endParaRPr lang="en-US" sz="2800" dirty="0" smtClean="0">
              <a:solidFill>
                <a:schemeClr val="bg1"/>
              </a:solidFill>
            </a:endParaRPr>
          </a:p>
          <a:p>
            <a:r>
              <a:rPr lang="en-US" sz="2800" dirty="0" smtClean="0">
                <a:solidFill>
                  <a:schemeClr val="bg1"/>
                </a:solidFill>
              </a:rPr>
              <a:t>“</a:t>
            </a:r>
            <a:r>
              <a:rPr lang="en-US" sz="2800" dirty="0">
                <a:solidFill>
                  <a:schemeClr val="bg1"/>
                </a:solidFill>
              </a:rPr>
              <a:t>R Best Practice” </a:t>
            </a:r>
            <a:endParaRPr lang="en-US" sz="2800" dirty="0" smtClean="0">
              <a:solidFill>
                <a:schemeClr val="bg1"/>
              </a:solidFill>
            </a:endParaRPr>
          </a:p>
          <a:p>
            <a:r>
              <a:rPr lang="en-US" sz="2800" dirty="0" smtClean="0">
                <a:solidFill>
                  <a:schemeClr val="bg1"/>
                </a:solidFill>
              </a:rPr>
              <a:t>document</a:t>
            </a:r>
            <a:endParaRPr lang="en-US" sz="2800" dirty="0">
              <a:solidFill>
                <a:schemeClr val="bg1"/>
              </a:solidFill>
            </a:endParaRPr>
          </a:p>
        </p:txBody>
      </p:sp>
      <p:sp>
        <p:nvSpPr>
          <p:cNvPr id="4" name="Content Placeholder 3"/>
          <p:cNvSpPr>
            <a:spLocks noGrp="1"/>
          </p:cNvSpPr>
          <p:nvPr>
            <p:ph sz="half" idx="2"/>
          </p:nvPr>
        </p:nvSpPr>
        <p:spPr/>
        <p:txBody>
          <a:bodyPr/>
          <a:lstStyle/>
          <a:p>
            <a:pPr marL="285750" indent="-285750">
              <a:buFont typeface="Arial" panose="020B0604020202020204" pitchFamily="34" charset="0"/>
              <a:buChar char="•"/>
            </a:pPr>
            <a:r>
              <a:rPr lang="en-US" sz="2800" dirty="0">
                <a:solidFill>
                  <a:schemeClr val="tx1"/>
                </a:solidFill>
              </a:rPr>
              <a:t>We will be reviewed against the document</a:t>
            </a:r>
          </a:p>
          <a:p>
            <a:pPr marL="285750" indent="-285750">
              <a:buFont typeface="Arial" panose="020B0604020202020204" pitchFamily="34" charset="0"/>
              <a:buChar char="•"/>
            </a:pPr>
            <a:r>
              <a:rPr lang="en-US" sz="2800" dirty="0">
                <a:solidFill>
                  <a:schemeClr val="tx1"/>
                </a:solidFill>
              </a:rPr>
              <a:t>Should be pragmatic</a:t>
            </a:r>
          </a:p>
          <a:p>
            <a:pPr marL="285750" indent="-285750">
              <a:buFont typeface="Arial" panose="020B0604020202020204" pitchFamily="34" charset="0"/>
              <a:buChar char="•"/>
            </a:pPr>
            <a:r>
              <a:rPr lang="en-US" sz="2800" dirty="0">
                <a:solidFill>
                  <a:schemeClr val="tx1"/>
                </a:solidFill>
              </a:rPr>
              <a:t>We all need to agree and buy into it</a:t>
            </a:r>
          </a:p>
        </p:txBody>
      </p:sp>
      <p:sp>
        <p:nvSpPr>
          <p:cNvPr id="5" name="Footer Placeholder 4"/>
          <p:cNvSpPr>
            <a:spLocks noGrp="1"/>
          </p:cNvSpPr>
          <p:nvPr>
            <p:ph type="ftr" sz="quarter" idx="11"/>
          </p:nvPr>
        </p:nvSpPr>
        <p:spPr/>
        <p:txBody>
          <a:bodyPr/>
          <a:lstStyle/>
          <a:p>
            <a:r>
              <a:rPr lang="en-GB" noProof="0" smtClean="0"/>
              <a:t>© Lloyd’s</a:t>
            </a:r>
            <a:endParaRPr lang="en-GB" noProof="0" dirty="0"/>
          </a:p>
        </p:txBody>
      </p:sp>
      <p:sp>
        <p:nvSpPr>
          <p:cNvPr id="6" name="Text Placeholder 5"/>
          <p:cNvSpPr>
            <a:spLocks noGrp="1"/>
          </p:cNvSpPr>
          <p:nvPr>
            <p:ph type="body" sz="quarter" idx="13"/>
          </p:nvPr>
        </p:nvSpPr>
        <p:spPr/>
        <p:txBody>
          <a:bodyPr/>
          <a:lstStyle/>
          <a:p>
            <a:r>
              <a:rPr lang="en-GB" dirty="0"/>
              <a:t>Finding 9: End-user computing (EUC</a:t>
            </a:r>
            <a:r>
              <a:rPr lang="en-GB" dirty="0" smtClean="0"/>
              <a:t>)</a:t>
            </a:r>
            <a:endParaRPr lang="en-GB" dirty="0"/>
          </a:p>
        </p:txBody>
      </p:sp>
    </p:spTree>
    <p:extLst>
      <p:ext uri="{BB962C8B-B14F-4D97-AF65-F5344CB8AC3E}">
        <p14:creationId xmlns:p14="http://schemas.microsoft.com/office/powerpoint/2010/main" val="343485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tivation</a:t>
            </a:r>
          </a:p>
        </p:txBody>
      </p:sp>
      <p:sp>
        <p:nvSpPr>
          <p:cNvPr id="3" name="Content Placeholder 2"/>
          <p:cNvSpPr>
            <a:spLocks noGrp="1"/>
          </p:cNvSpPr>
          <p:nvPr>
            <p:ph sz="half" idx="1"/>
          </p:nvPr>
        </p:nvSpPr>
        <p:spPr>
          <a:solidFill>
            <a:schemeClr val="accent1"/>
          </a:solidFill>
        </p:spPr>
        <p:txBody>
          <a:bodyPr lIns="180000" tIns="180000" rIns="180000" bIns="180000"/>
          <a:lstStyle/>
          <a:p>
            <a:r>
              <a:rPr lang="en-US" sz="2800" dirty="0">
                <a:solidFill>
                  <a:schemeClr val="bg1"/>
                </a:solidFill>
              </a:rPr>
              <a:t>Solvency II: Internal model approval process data review </a:t>
            </a:r>
            <a:endParaRPr lang="en-US" sz="2800" dirty="0" smtClean="0">
              <a:solidFill>
                <a:schemeClr val="bg1"/>
              </a:solidFill>
            </a:endParaRPr>
          </a:p>
          <a:p>
            <a:endParaRPr lang="en-US" sz="2800" dirty="0">
              <a:solidFill>
                <a:schemeClr val="bg1"/>
              </a:solidFill>
            </a:endParaRPr>
          </a:p>
          <a:p>
            <a:r>
              <a:rPr lang="en-US" sz="2800" i="1" dirty="0" smtClean="0">
                <a:solidFill>
                  <a:schemeClr val="tx2"/>
                </a:solidFill>
              </a:rPr>
              <a:t>Bank </a:t>
            </a:r>
            <a:r>
              <a:rPr lang="en-US" sz="2800" i="1" dirty="0">
                <a:solidFill>
                  <a:schemeClr val="tx2"/>
                </a:solidFill>
              </a:rPr>
              <a:t>of England 2016 </a:t>
            </a:r>
          </a:p>
        </p:txBody>
      </p:sp>
      <p:sp>
        <p:nvSpPr>
          <p:cNvPr id="4" name="Content Placeholder 3"/>
          <p:cNvSpPr>
            <a:spLocks noGrp="1"/>
          </p:cNvSpPr>
          <p:nvPr>
            <p:ph sz="half" idx="2"/>
          </p:nvPr>
        </p:nvSpPr>
        <p:spPr/>
        <p:txBody>
          <a:bodyPr/>
          <a:lstStyle/>
          <a:p>
            <a:r>
              <a:rPr lang="en-US" sz="2800" dirty="0"/>
              <a:t>Sub-risk 5: IT environment, technology and tools:</a:t>
            </a:r>
          </a:p>
          <a:p>
            <a:pPr marL="285750" indent="-285750">
              <a:buFont typeface="Arial" panose="020B0604020202020204" pitchFamily="34" charset="0"/>
              <a:buChar char="•"/>
            </a:pPr>
            <a:endParaRPr lang="en-US" sz="2800" dirty="0">
              <a:solidFill>
                <a:schemeClr val="tx1"/>
              </a:solidFill>
            </a:endParaRPr>
          </a:p>
          <a:p>
            <a:r>
              <a:rPr lang="en-US" sz="2800" i="1" dirty="0">
                <a:solidFill>
                  <a:schemeClr val="tx1"/>
                </a:solidFill>
              </a:rPr>
              <a:t>Spreadsheets and other user-developed applications are a form of information technology, and all information technology needs to be appropriately controlled.</a:t>
            </a:r>
          </a:p>
          <a:p>
            <a:pPr marL="285750" indent="-285750">
              <a:buFont typeface="Arial" panose="020B0604020202020204" pitchFamily="34" charset="0"/>
              <a:buChar char="•"/>
            </a:pPr>
            <a:endParaRPr lang="en-US" sz="2800" dirty="0">
              <a:solidFill>
                <a:schemeClr val="tx1"/>
              </a:solidFill>
            </a:endParaRPr>
          </a:p>
        </p:txBody>
      </p:sp>
      <p:sp>
        <p:nvSpPr>
          <p:cNvPr id="5" name="Footer Placeholder 4"/>
          <p:cNvSpPr>
            <a:spLocks noGrp="1"/>
          </p:cNvSpPr>
          <p:nvPr>
            <p:ph type="ftr" sz="quarter" idx="11"/>
          </p:nvPr>
        </p:nvSpPr>
        <p:spPr/>
        <p:txBody>
          <a:bodyPr/>
          <a:lstStyle/>
          <a:p>
            <a:r>
              <a:rPr lang="en-GB" noProof="0" smtClean="0"/>
              <a:t>© Lloyd’s</a:t>
            </a:r>
            <a:endParaRPr lang="en-GB" noProof="0" dirty="0"/>
          </a:p>
        </p:txBody>
      </p:sp>
      <p:sp>
        <p:nvSpPr>
          <p:cNvPr id="6" name="Text Placeholder 5"/>
          <p:cNvSpPr>
            <a:spLocks noGrp="1"/>
          </p:cNvSpPr>
          <p:nvPr>
            <p:ph type="body" sz="quarter" idx="13"/>
          </p:nvPr>
        </p:nvSpPr>
        <p:spPr/>
        <p:txBody>
          <a:bodyPr/>
          <a:lstStyle/>
          <a:p>
            <a:r>
              <a:rPr lang="en-GB" dirty="0"/>
              <a:t>Finding 9: End-user computing (EUC</a:t>
            </a:r>
            <a:r>
              <a:rPr lang="en-GB" dirty="0" smtClean="0"/>
              <a:t>)</a:t>
            </a:r>
            <a:endParaRPr lang="en-GB" dirty="0"/>
          </a:p>
        </p:txBody>
      </p:sp>
    </p:spTree>
    <p:extLst>
      <p:ext uri="{BB962C8B-B14F-4D97-AF65-F5344CB8AC3E}">
        <p14:creationId xmlns:p14="http://schemas.microsoft.com/office/powerpoint/2010/main" val="3261673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otivation</a:t>
            </a:r>
          </a:p>
        </p:txBody>
      </p:sp>
      <p:sp>
        <p:nvSpPr>
          <p:cNvPr id="3" name="Content Placeholder 2"/>
          <p:cNvSpPr>
            <a:spLocks noGrp="1"/>
          </p:cNvSpPr>
          <p:nvPr>
            <p:ph sz="half" idx="1"/>
          </p:nvPr>
        </p:nvSpPr>
        <p:spPr>
          <a:solidFill>
            <a:schemeClr val="accent1"/>
          </a:solidFill>
        </p:spPr>
        <p:txBody>
          <a:bodyPr lIns="180000" tIns="180000" rIns="180000" bIns="180000"/>
          <a:lstStyle/>
          <a:p>
            <a:r>
              <a:rPr lang="en-US" sz="2800" dirty="0">
                <a:solidFill>
                  <a:schemeClr val="bg1"/>
                </a:solidFill>
              </a:rPr>
              <a:t>Where EUC is material to the internal model data flow, the PRA will be looking for appropriate controls for data quality such as:</a:t>
            </a:r>
            <a:endParaRPr lang="en-GB" sz="2800" dirty="0">
              <a:solidFill>
                <a:schemeClr val="bg1"/>
              </a:solidFill>
            </a:endParaRPr>
          </a:p>
        </p:txBody>
      </p:sp>
      <p:sp>
        <p:nvSpPr>
          <p:cNvPr id="4" name="Content Placeholder 3"/>
          <p:cNvSpPr>
            <a:spLocks noGrp="1"/>
          </p:cNvSpPr>
          <p:nvPr>
            <p:ph sz="half" idx="2"/>
          </p:nvPr>
        </p:nvSpPr>
        <p:spPr/>
        <p:txBody>
          <a:bodyPr/>
          <a:lstStyle/>
          <a:p>
            <a:pPr marL="285750" indent="-285750">
              <a:buFont typeface="Arial" panose="020B0604020202020204" pitchFamily="34" charset="0"/>
              <a:buChar char="•"/>
            </a:pPr>
            <a:r>
              <a:rPr lang="en-US" sz="2800" dirty="0">
                <a:solidFill>
                  <a:schemeClr val="tx1"/>
                </a:solidFill>
              </a:rPr>
              <a:t>reasonableness checks,</a:t>
            </a:r>
          </a:p>
          <a:p>
            <a:pPr marL="285750" indent="-285750">
              <a:buFont typeface="Arial" panose="020B0604020202020204" pitchFamily="34" charset="0"/>
              <a:buChar char="•"/>
            </a:pPr>
            <a:r>
              <a:rPr lang="en-US" sz="2800" dirty="0">
                <a:solidFill>
                  <a:schemeClr val="tx1"/>
                </a:solidFill>
              </a:rPr>
              <a:t>input validations,</a:t>
            </a:r>
          </a:p>
          <a:p>
            <a:pPr marL="285750" indent="-285750">
              <a:buFont typeface="Arial" panose="020B0604020202020204" pitchFamily="34" charset="0"/>
              <a:buChar char="•"/>
            </a:pPr>
            <a:r>
              <a:rPr lang="en-US" sz="2800" dirty="0">
                <a:solidFill>
                  <a:schemeClr val="tx1"/>
                </a:solidFill>
              </a:rPr>
              <a:t>peer reviews, </a:t>
            </a:r>
          </a:p>
          <a:p>
            <a:pPr marL="285750" indent="-285750">
              <a:buFont typeface="Arial" panose="020B0604020202020204" pitchFamily="34" charset="0"/>
              <a:buChar char="•"/>
            </a:pPr>
            <a:r>
              <a:rPr lang="en-US" sz="2800" dirty="0">
                <a:solidFill>
                  <a:schemeClr val="tx1"/>
                </a:solidFill>
              </a:rPr>
              <a:t>systems environment configuration, </a:t>
            </a:r>
          </a:p>
          <a:p>
            <a:pPr marL="285750" indent="-285750">
              <a:buFont typeface="Arial" panose="020B0604020202020204" pitchFamily="34" charset="0"/>
              <a:buChar char="•"/>
            </a:pPr>
            <a:r>
              <a:rPr lang="en-US" sz="2800" dirty="0">
                <a:solidFill>
                  <a:schemeClr val="tx1"/>
                </a:solidFill>
              </a:rPr>
              <a:t>logical access management, </a:t>
            </a:r>
          </a:p>
          <a:p>
            <a:pPr marL="285750" indent="-285750">
              <a:buFont typeface="Arial" panose="020B0604020202020204" pitchFamily="34" charset="0"/>
              <a:buChar char="•"/>
            </a:pPr>
            <a:r>
              <a:rPr lang="en-US" sz="2800" dirty="0">
                <a:solidFill>
                  <a:schemeClr val="tx1"/>
                </a:solidFill>
              </a:rPr>
              <a:t>ongoing change controls and release management</a:t>
            </a:r>
          </a:p>
          <a:p>
            <a:pPr marL="285750" indent="-285750">
              <a:buFont typeface="Arial" panose="020B0604020202020204" pitchFamily="34" charset="0"/>
              <a:buChar char="•"/>
            </a:pPr>
            <a:r>
              <a:rPr lang="en-US" sz="2800" dirty="0">
                <a:solidFill>
                  <a:schemeClr val="tx1"/>
                </a:solidFill>
              </a:rPr>
              <a:t>disaster recovery, and </a:t>
            </a:r>
          </a:p>
          <a:p>
            <a:pPr marL="285750" indent="-285750">
              <a:buFont typeface="Arial" panose="020B0604020202020204" pitchFamily="34" charset="0"/>
              <a:buChar char="•"/>
            </a:pPr>
            <a:r>
              <a:rPr lang="en-US" sz="2800" dirty="0">
                <a:solidFill>
                  <a:schemeClr val="tx1"/>
                </a:solidFill>
              </a:rPr>
              <a:t>documentation</a:t>
            </a:r>
            <a:r>
              <a:rPr lang="en-US" sz="2800" dirty="0" smtClean="0">
                <a:solidFill>
                  <a:schemeClr val="tx1"/>
                </a:solidFill>
              </a:rPr>
              <a:t>.</a:t>
            </a:r>
            <a:endParaRPr lang="en-US" sz="2800" dirty="0">
              <a:solidFill>
                <a:schemeClr val="tx1"/>
              </a:solidFill>
            </a:endParaRPr>
          </a:p>
        </p:txBody>
      </p:sp>
      <p:sp>
        <p:nvSpPr>
          <p:cNvPr id="5" name="Footer Placeholder 4"/>
          <p:cNvSpPr>
            <a:spLocks noGrp="1"/>
          </p:cNvSpPr>
          <p:nvPr>
            <p:ph type="ftr" sz="quarter" idx="11"/>
          </p:nvPr>
        </p:nvSpPr>
        <p:spPr/>
        <p:txBody>
          <a:bodyPr/>
          <a:lstStyle/>
          <a:p>
            <a:r>
              <a:rPr lang="en-GB" noProof="0" smtClean="0"/>
              <a:t>© Lloyd’s</a:t>
            </a:r>
            <a:endParaRPr lang="en-GB" noProof="0" dirty="0"/>
          </a:p>
        </p:txBody>
      </p:sp>
      <p:sp>
        <p:nvSpPr>
          <p:cNvPr id="6" name="Text Placeholder 5"/>
          <p:cNvSpPr>
            <a:spLocks noGrp="1"/>
          </p:cNvSpPr>
          <p:nvPr>
            <p:ph type="body" sz="quarter" idx="13"/>
          </p:nvPr>
        </p:nvSpPr>
        <p:spPr/>
        <p:txBody>
          <a:bodyPr/>
          <a:lstStyle/>
          <a:p>
            <a:r>
              <a:rPr lang="en-GB" dirty="0"/>
              <a:t>Finding 9: End-user computing (EUC</a:t>
            </a:r>
            <a:r>
              <a:rPr lang="en-GB" dirty="0" smtClean="0"/>
              <a:t>)</a:t>
            </a:r>
            <a:endParaRPr lang="en-GB" dirty="0"/>
          </a:p>
        </p:txBody>
      </p:sp>
    </p:spTree>
    <p:extLst>
      <p:ext uri="{BB962C8B-B14F-4D97-AF65-F5344CB8AC3E}">
        <p14:creationId xmlns:p14="http://schemas.microsoft.com/office/powerpoint/2010/main" val="550383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 Best Practice</a:t>
            </a:r>
            <a:endParaRPr lang="en-GB" dirty="0"/>
          </a:p>
        </p:txBody>
      </p:sp>
      <p:sp>
        <p:nvSpPr>
          <p:cNvPr id="3" name="Content Placeholder 2"/>
          <p:cNvSpPr>
            <a:spLocks noGrp="1"/>
          </p:cNvSpPr>
          <p:nvPr>
            <p:ph sz="half" idx="1"/>
          </p:nvPr>
        </p:nvSpPr>
        <p:spPr>
          <a:solidFill>
            <a:schemeClr val="accent1"/>
          </a:solidFill>
        </p:spPr>
        <p:txBody>
          <a:bodyPr lIns="180000" tIns="180000" rIns="180000" bIns="180000"/>
          <a:lstStyle/>
          <a:p>
            <a:r>
              <a:rPr lang="en-US" sz="2800" dirty="0" smtClean="0">
                <a:solidFill>
                  <a:schemeClr val="bg1"/>
                </a:solidFill>
              </a:rPr>
              <a:t>Level of controls should depend on the task</a:t>
            </a:r>
            <a:endParaRPr lang="en-GB" sz="2800" dirty="0">
              <a:solidFill>
                <a:schemeClr val="bg1"/>
              </a:solidFill>
            </a:endParaRPr>
          </a:p>
        </p:txBody>
      </p:sp>
      <p:sp>
        <p:nvSpPr>
          <p:cNvPr id="4" name="Content Placeholder 3"/>
          <p:cNvSpPr>
            <a:spLocks noGrp="1"/>
          </p:cNvSpPr>
          <p:nvPr>
            <p:ph sz="half" idx="2"/>
          </p:nvPr>
        </p:nvSpPr>
        <p:spPr/>
        <p:txBody>
          <a:bodyPr/>
          <a:lstStyle/>
          <a:p>
            <a:pPr marL="285750" indent="-285750">
              <a:buFont typeface="Arial" panose="020B0604020202020204" pitchFamily="34" charset="0"/>
              <a:buChar char="•"/>
            </a:pPr>
            <a:r>
              <a:rPr lang="en-US" sz="2800" dirty="0" smtClean="0">
                <a:solidFill>
                  <a:schemeClr val="tx1"/>
                </a:solidFill>
              </a:rPr>
              <a:t>One-off, ad-hoc analyses should require minimal additional work</a:t>
            </a:r>
          </a:p>
          <a:p>
            <a:pPr marL="709200" lvl="2" indent="-457200">
              <a:buFont typeface="Courier New" panose="02070309020205020404" pitchFamily="49" charset="0"/>
              <a:buChar char="o"/>
            </a:pPr>
            <a:r>
              <a:rPr lang="en-US" sz="2800" dirty="0" smtClean="0">
                <a:solidFill>
                  <a:schemeClr val="tx2"/>
                </a:solidFill>
              </a:rPr>
              <a:t>Encourage rapid work without unnecessary constraints</a:t>
            </a:r>
          </a:p>
          <a:p>
            <a:pPr marL="285750" lvl="1" indent="-285750">
              <a:buFont typeface="Arial" panose="020B0604020202020204" pitchFamily="34" charset="0"/>
              <a:buChar char="•"/>
            </a:pPr>
            <a:r>
              <a:rPr lang="en-US" sz="2800" dirty="0" smtClean="0"/>
              <a:t>Complex applications with depends </a:t>
            </a:r>
            <a:r>
              <a:rPr lang="en-US" sz="2800" dirty="0" err="1" smtClean="0"/>
              <a:t>mus</a:t>
            </a:r>
            <a:r>
              <a:rPr lang="en-US" sz="2800" dirty="0" smtClean="0"/>
              <a:t> be managed carefully</a:t>
            </a:r>
          </a:p>
          <a:p>
            <a:pPr marL="709200" lvl="2" indent="-457200">
              <a:buFont typeface="Courier New" panose="02070309020205020404" pitchFamily="49" charset="0"/>
              <a:buChar char="o"/>
            </a:pPr>
            <a:r>
              <a:rPr lang="en-US" sz="2800" dirty="0" smtClean="0">
                <a:solidFill>
                  <a:schemeClr val="tx2"/>
                </a:solidFill>
              </a:rPr>
              <a:t>Encourage robust development</a:t>
            </a:r>
          </a:p>
          <a:p>
            <a:pPr marL="285750" lvl="1" indent="-285750">
              <a:buFont typeface="Arial" panose="020B0604020202020204" pitchFamily="34" charset="0"/>
              <a:buChar char="•"/>
            </a:pPr>
            <a:r>
              <a:rPr lang="en-US" sz="2800" dirty="0" smtClean="0"/>
              <a:t>Perform a simple Risk Analysis to determine controls</a:t>
            </a:r>
          </a:p>
          <a:p>
            <a:pPr marL="285750" lvl="1" indent="-285750">
              <a:buFont typeface="Arial" panose="020B0604020202020204" pitchFamily="34" charset="0"/>
              <a:buChar char="•"/>
            </a:pPr>
            <a:endParaRPr lang="en-US" sz="2800" dirty="0">
              <a:solidFill>
                <a:schemeClr val="tx1"/>
              </a:solidFill>
            </a:endParaRPr>
          </a:p>
        </p:txBody>
      </p:sp>
      <p:sp>
        <p:nvSpPr>
          <p:cNvPr id="5" name="Footer Placeholder 4"/>
          <p:cNvSpPr>
            <a:spLocks noGrp="1"/>
          </p:cNvSpPr>
          <p:nvPr>
            <p:ph type="ftr" sz="quarter" idx="11"/>
          </p:nvPr>
        </p:nvSpPr>
        <p:spPr/>
        <p:txBody>
          <a:bodyPr/>
          <a:lstStyle/>
          <a:p>
            <a:r>
              <a:rPr lang="en-GB" noProof="0" smtClean="0"/>
              <a:t>© Lloyd’s</a:t>
            </a:r>
            <a:endParaRPr lang="en-GB" noProof="0" dirty="0"/>
          </a:p>
        </p:txBody>
      </p:sp>
      <p:sp>
        <p:nvSpPr>
          <p:cNvPr id="6" name="Text Placeholder 5"/>
          <p:cNvSpPr>
            <a:spLocks noGrp="1"/>
          </p:cNvSpPr>
          <p:nvPr>
            <p:ph type="body" sz="quarter" idx="13"/>
          </p:nvPr>
        </p:nvSpPr>
        <p:spPr/>
        <p:txBody>
          <a:bodyPr/>
          <a:lstStyle/>
          <a:p>
            <a:r>
              <a:rPr lang="en-US" dirty="0"/>
              <a:t>Controls should be </a:t>
            </a:r>
            <a:r>
              <a:rPr lang="en-US" dirty="0" smtClean="0"/>
              <a:t>pragmatic</a:t>
            </a:r>
            <a:endParaRPr lang="en-US" dirty="0"/>
          </a:p>
        </p:txBody>
      </p:sp>
    </p:spTree>
    <p:extLst>
      <p:ext uri="{BB962C8B-B14F-4D97-AF65-F5344CB8AC3E}">
        <p14:creationId xmlns:p14="http://schemas.microsoft.com/office/powerpoint/2010/main" val="659599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 Best Practice</a:t>
            </a:r>
            <a:endParaRPr lang="en-GB" dirty="0"/>
          </a:p>
        </p:txBody>
      </p:sp>
      <p:sp>
        <p:nvSpPr>
          <p:cNvPr id="3" name="Content Placeholder 2"/>
          <p:cNvSpPr>
            <a:spLocks noGrp="1"/>
          </p:cNvSpPr>
          <p:nvPr>
            <p:ph sz="half" idx="1"/>
          </p:nvPr>
        </p:nvSpPr>
        <p:spPr>
          <a:xfrm>
            <a:off x="539999" y="1803213"/>
            <a:ext cx="3564000" cy="1990314"/>
          </a:xfrm>
          <a:solidFill>
            <a:schemeClr val="accent1"/>
          </a:solidFill>
        </p:spPr>
        <p:txBody>
          <a:bodyPr lIns="180000" tIns="180000" rIns="180000" bIns="180000"/>
          <a:lstStyle/>
          <a:p>
            <a:r>
              <a:rPr lang="en-US" sz="2800" dirty="0" smtClean="0">
                <a:solidFill>
                  <a:schemeClr val="bg1"/>
                </a:solidFill>
              </a:rPr>
              <a:t>Complexity</a:t>
            </a:r>
            <a:endParaRPr lang="en-GB" sz="2800" dirty="0">
              <a:solidFill>
                <a:schemeClr val="bg1"/>
              </a:solidFill>
            </a:endParaRPr>
          </a:p>
        </p:txBody>
      </p:sp>
      <p:sp>
        <p:nvSpPr>
          <p:cNvPr id="4" name="Content Placeholder 3"/>
          <p:cNvSpPr>
            <a:spLocks noGrp="1"/>
          </p:cNvSpPr>
          <p:nvPr>
            <p:ph sz="half" idx="2"/>
          </p:nvPr>
        </p:nvSpPr>
        <p:spPr>
          <a:xfrm>
            <a:off x="4314599" y="1803213"/>
            <a:ext cx="7338600" cy="1990314"/>
          </a:xfrm>
          <a:ln>
            <a:noFill/>
          </a:ln>
        </p:spPr>
        <p:txBody>
          <a:bodyPr/>
          <a:lstStyle/>
          <a:p>
            <a:pPr lvl="1">
              <a:lnSpc>
                <a:spcPct val="150000"/>
              </a:lnSpc>
            </a:pPr>
            <a:r>
              <a:rPr lang="en-US" sz="2800" dirty="0">
                <a:solidFill>
                  <a:schemeClr val="accent1"/>
                </a:solidFill>
              </a:rPr>
              <a:t>Low:</a:t>
            </a:r>
            <a:r>
              <a:rPr lang="en-US" sz="2800" dirty="0"/>
              <a:t> Short script with only a few steps</a:t>
            </a:r>
          </a:p>
          <a:p>
            <a:pPr lvl="1">
              <a:lnSpc>
                <a:spcPct val="150000"/>
              </a:lnSpc>
            </a:pPr>
            <a:r>
              <a:rPr lang="en-US" sz="2800" dirty="0" smtClean="0">
                <a:solidFill>
                  <a:schemeClr val="accent1"/>
                </a:solidFill>
              </a:rPr>
              <a:t>Medium</a:t>
            </a:r>
            <a:r>
              <a:rPr lang="en-US" sz="2800" dirty="0">
                <a:solidFill>
                  <a:schemeClr val="accent1"/>
                </a:solidFill>
              </a:rPr>
              <a:t>:</a:t>
            </a:r>
            <a:r>
              <a:rPr lang="en-US" sz="2800" dirty="0"/>
              <a:t> Large script with </a:t>
            </a:r>
            <a:r>
              <a:rPr lang="en-US" sz="2800" dirty="0" smtClean="0"/>
              <a:t>dependent </a:t>
            </a:r>
            <a:r>
              <a:rPr lang="en-US" sz="2800" dirty="0"/>
              <a:t>steps</a:t>
            </a:r>
          </a:p>
          <a:p>
            <a:pPr lvl="1">
              <a:lnSpc>
                <a:spcPct val="150000"/>
              </a:lnSpc>
            </a:pPr>
            <a:r>
              <a:rPr lang="en-US" sz="2800" dirty="0" smtClean="0">
                <a:solidFill>
                  <a:schemeClr val="accent1"/>
                </a:solidFill>
              </a:rPr>
              <a:t>High</a:t>
            </a:r>
            <a:r>
              <a:rPr lang="en-US" sz="2800" dirty="0">
                <a:solidFill>
                  <a:schemeClr val="accent1"/>
                </a:solidFill>
              </a:rPr>
              <a:t>:</a:t>
            </a:r>
            <a:r>
              <a:rPr lang="en-US" sz="2800" dirty="0"/>
              <a:t> Multiple scripts with interdependencies</a:t>
            </a:r>
          </a:p>
        </p:txBody>
      </p:sp>
      <p:sp>
        <p:nvSpPr>
          <p:cNvPr id="5" name="Footer Placeholder 4"/>
          <p:cNvSpPr>
            <a:spLocks noGrp="1"/>
          </p:cNvSpPr>
          <p:nvPr>
            <p:ph type="ftr" sz="quarter" idx="11"/>
          </p:nvPr>
        </p:nvSpPr>
        <p:spPr/>
        <p:txBody>
          <a:bodyPr/>
          <a:lstStyle/>
          <a:p>
            <a:r>
              <a:rPr lang="en-GB" noProof="0" smtClean="0"/>
              <a:t>© Lloyd’s</a:t>
            </a:r>
            <a:endParaRPr lang="en-GB" noProof="0" dirty="0"/>
          </a:p>
        </p:txBody>
      </p:sp>
      <p:sp>
        <p:nvSpPr>
          <p:cNvPr id="6" name="Text Placeholder 5"/>
          <p:cNvSpPr>
            <a:spLocks noGrp="1"/>
          </p:cNvSpPr>
          <p:nvPr>
            <p:ph type="body" sz="quarter" idx="13"/>
          </p:nvPr>
        </p:nvSpPr>
        <p:spPr/>
        <p:txBody>
          <a:bodyPr/>
          <a:lstStyle/>
          <a:p>
            <a:r>
              <a:rPr lang="en-US" dirty="0" smtClean="0"/>
              <a:t>Risk Analysis</a:t>
            </a:r>
            <a:endParaRPr lang="en-US" dirty="0"/>
          </a:p>
        </p:txBody>
      </p:sp>
      <p:sp>
        <p:nvSpPr>
          <p:cNvPr id="7" name="Content Placeholder 2"/>
          <p:cNvSpPr txBox="1">
            <a:spLocks/>
          </p:cNvSpPr>
          <p:nvPr/>
        </p:nvSpPr>
        <p:spPr>
          <a:xfrm>
            <a:off x="544118" y="4056260"/>
            <a:ext cx="3564000" cy="1990314"/>
          </a:xfrm>
          <a:prstGeom prst="rect">
            <a:avLst/>
          </a:prstGeom>
          <a:solidFill>
            <a:schemeClr val="accent1"/>
          </a:solidFill>
        </p:spPr>
        <p:txBody>
          <a:bodyPr vert="horz" lIns="180000" tIns="180000" rIns="180000" bIns="180000" rtlCol="0">
            <a:noAutofit/>
          </a:bodyPr>
          <a:lstStyle>
            <a:lvl1pPr marL="0" indent="0" algn="l" defTabSz="914400" rtl="0" eaLnBrk="1" latinLnBrk="0" hangingPunct="1">
              <a:lnSpc>
                <a:spcPct val="100000"/>
              </a:lnSpc>
              <a:spcBef>
                <a:spcPts val="400"/>
              </a:spcBef>
              <a:spcAft>
                <a:spcPts val="0"/>
              </a:spcAft>
              <a:buFontTx/>
              <a:buNone/>
              <a:defRPr sz="1400" kern="1200">
                <a:solidFill>
                  <a:schemeClr val="accent1"/>
                </a:solidFill>
                <a:latin typeface="+mn-lt"/>
                <a:ea typeface="+mn-ea"/>
                <a:cs typeface="+mn-cs"/>
              </a:defRPr>
            </a:lvl1pPr>
            <a:lvl2pPr marL="0" indent="0" algn="l" defTabSz="914400" rtl="0" eaLnBrk="1" latinLnBrk="0" hangingPunct="1">
              <a:lnSpc>
                <a:spcPct val="100000"/>
              </a:lnSpc>
              <a:spcBef>
                <a:spcPts val="400"/>
              </a:spcBef>
              <a:spcAft>
                <a:spcPts val="0"/>
              </a:spcAft>
              <a:buFontTx/>
              <a:buNone/>
              <a:defRPr sz="1400" kern="1200">
                <a:solidFill>
                  <a:schemeClr val="tx1"/>
                </a:solidFill>
                <a:latin typeface="+mn-lt"/>
                <a:ea typeface="+mn-ea"/>
                <a:cs typeface="+mn-cs"/>
              </a:defRPr>
            </a:lvl2pPr>
            <a:lvl3pPr marL="252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3pPr>
            <a:lvl4pPr marL="504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4pPr>
            <a:lvl5pPr marL="792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solidFill>
                  <a:schemeClr val="bg1"/>
                </a:solidFill>
              </a:rPr>
              <a:t>Criticality</a:t>
            </a:r>
            <a:endParaRPr lang="en-GB" sz="2800" dirty="0">
              <a:solidFill>
                <a:schemeClr val="bg1"/>
              </a:solidFill>
            </a:endParaRPr>
          </a:p>
        </p:txBody>
      </p:sp>
      <p:sp>
        <p:nvSpPr>
          <p:cNvPr id="8" name="Content Placeholder 3"/>
          <p:cNvSpPr txBox="1">
            <a:spLocks/>
          </p:cNvSpPr>
          <p:nvPr/>
        </p:nvSpPr>
        <p:spPr>
          <a:xfrm>
            <a:off x="4318718" y="4056260"/>
            <a:ext cx="7338600" cy="1990314"/>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400"/>
              </a:spcBef>
              <a:spcAft>
                <a:spcPts val="0"/>
              </a:spcAft>
              <a:buFontTx/>
              <a:buNone/>
              <a:defRPr sz="1400" kern="1200">
                <a:solidFill>
                  <a:schemeClr val="accent1"/>
                </a:solidFill>
                <a:latin typeface="+mn-lt"/>
                <a:ea typeface="+mn-ea"/>
                <a:cs typeface="+mn-cs"/>
              </a:defRPr>
            </a:lvl1pPr>
            <a:lvl2pPr marL="0" indent="0" algn="l" defTabSz="914400" rtl="0" eaLnBrk="1" latinLnBrk="0" hangingPunct="1">
              <a:lnSpc>
                <a:spcPct val="100000"/>
              </a:lnSpc>
              <a:spcBef>
                <a:spcPts val="400"/>
              </a:spcBef>
              <a:spcAft>
                <a:spcPts val="0"/>
              </a:spcAft>
              <a:buFontTx/>
              <a:buNone/>
              <a:defRPr sz="1400" kern="1200">
                <a:solidFill>
                  <a:schemeClr val="tx1"/>
                </a:solidFill>
                <a:latin typeface="+mn-lt"/>
                <a:ea typeface="+mn-ea"/>
                <a:cs typeface="+mn-cs"/>
              </a:defRPr>
            </a:lvl2pPr>
            <a:lvl3pPr marL="252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3pPr>
            <a:lvl4pPr marL="504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4pPr>
            <a:lvl5pPr marL="792000" indent="-252000" algn="l" defTabSz="914400" rtl="0" eaLnBrk="1" latinLnBrk="0" hangingPunct="1">
              <a:lnSpc>
                <a:spcPct val="100000"/>
              </a:lnSpc>
              <a:spcBef>
                <a:spcPts val="4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pPr>
            <a:r>
              <a:rPr lang="en-US" sz="2800" dirty="0">
                <a:solidFill>
                  <a:schemeClr val="accent1"/>
                </a:solidFill>
              </a:rPr>
              <a:t>Low:</a:t>
            </a:r>
            <a:r>
              <a:rPr lang="en-US" sz="2800" dirty="0"/>
              <a:t> One-off </a:t>
            </a:r>
            <a:r>
              <a:rPr lang="en-US" sz="2800" dirty="0" smtClean="0"/>
              <a:t>investigation</a:t>
            </a:r>
          </a:p>
          <a:p>
            <a:pPr lvl="1">
              <a:lnSpc>
                <a:spcPct val="150000"/>
              </a:lnSpc>
            </a:pPr>
            <a:r>
              <a:rPr lang="en-US" sz="2800" dirty="0" smtClean="0">
                <a:solidFill>
                  <a:schemeClr val="accent1"/>
                </a:solidFill>
              </a:rPr>
              <a:t>Medium</a:t>
            </a:r>
            <a:r>
              <a:rPr lang="en-US" sz="2800" dirty="0">
                <a:solidFill>
                  <a:schemeClr val="accent1"/>
                </a:solidFill>
              </a:rPr>
              <a:t>:</a:t>
            </a:r>
            <a:r>
              <a:rPr lang="en-US" sz="2800" dirty="0"/>
              <a:t> Rerun regularly</a:t>
            </a:r>
          </a:p>
          <a:p>
            <a:pPr lvl="1">
              <a:lnSpc>
                <a:spcPct val="150000"/>
              </a:lnSpc>
            </a:pPr>
            <a:r>
              <a:rPr lang="en-US" sz="2800" dirty="0" smtClean="0">
                <a:solidFill>
                  <a:schemeClr val="accent1"/>
                </a:solidFill>
              </a:rPr>
              <a:t>High</a:t>
            </a:r>
            <a:r>
              <a:rPr lang="en-US" sz="2800" dirty="0">
                <a:solidFill>
                  <a:schemeClr val="accent1"/>
                </a:solidFill>
              </a:rPr>
              <a:t>:</a:t>
            </a:r>
            <a:r>
              <a:rPr lang="en-US" sz="2800" dirty="0"/>
              <a:t> Rerun frequently and / or </a:t>
            </a:r>
            <a:r>
              <a:rPr lang="en-US" sz="2800" dirty="0" smtClean="0"/>
              <a:t>dependencies</a:t>
            </a:r>
            <a:endParaRPr lang="en-US" sz="2800" dirty="0"/>
          </a:p>
        </p:txBody>
      </p:sp>
    </p:spTree>
    <p:extLst>
      <p:ext uri="{BB962C8B-B14F-4D97-AF65-F5344CB8AC3E}">
        <p14:creationId xmlns:p14="http://schemas.microsoft.com/office/powerpoint/2010/main" val="4052326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287588032"/>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Areas for consideration</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3582216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xmlns="" id="{BBD352F0-18CB-4E80-87E5-2B0DFBE23F97}"/>
              </a:ext>
            </a:extLst>
          </p:cNvPr>
          <p:cNvGraphicFramePr>
            <a:graphicFrameLocks/>
          </p:cNvGraphicFramePr>
          <p:nvPr>
            <p:extLst>
              <p:ext uri="{D42A27DB-BD31-4B8C-83A1-F6EECF244321}">
                <p14:modId xmlns:p14="http://schemas.microsoft.com/office/powerpoint/2010/main" val="2753686382"/>
              </p:ext>
            </p:extLst>
          </p:nvPr>
        </p:nvGraphicFramePr>
        <p:xfrm>
          <a:off x="544286" y="1687286"/>
          <a:ext cx="11114314" cy="4441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R Best Practice</a:t>
            </a:r>
            <a:endParaRPr lang="en-GB" dirty="0"/>
          </a:p>
        </p:txBody>
      </p:sp>
      <p:sp>
        <p:nvSpPr>
          <p:cNvPr id="4" name="Text Placeholder 3"/>
          <p:cNvSpPr>
            <a:spLocks noGrp="1"/>
          </p:cNvSpPr>
          <p:nvPr>
            <p:ph type="body" sz="quarter" idx="13"/>
          </p:nvPr>
        </p:nvSpPr>
        <p:spPr/>
        <p:txBody>
          <a:bodyPr/>
          <a:lstStyle/>
          <a:p>
            <a:r>
              <a:rPr lang="en-GB" dirty="0" smtClean="0"/>
              <a:t>Documentation</a:t>
            </a:r>
            <a:endParaRPr lang="en-GB" dirty="0"/>
          </a:p>
        </p:txBody>
      </p:sp>
      <p:sp>
        <p:nvSpPr>
          <p:cNvPr id="5" name="Footer Placeholder 4"/>
          <p:cNvSpPr>
            <a:spLocks noGrp="1"/>
          </p:cNvSpPr>
          <p:nvPr>
            <p:ph type="ftr" sz="quarter" idx="15"/>
          </p:nvPr>
        </p:nvSpPr>
        <p:spPr/>
        <p:txBody>
          <a:bodyPr/>
          <a:lstStyle/>
          <a:p>
            <a:r>
              <a:rPr lang="en-GB" noProof="0" smtClean="0"/>
              <a:t>© Lloyd’s</a:t>
            </a:r>
            <a:endParaRPr lang="en-GB" noProof="0" dirty="0"/>
          </a:p>
        </p:txBody>
      </p:sp>
    </p:spTree>
    <p:extLst>
      <p:ext uri="{BB962C8B-B14F-4D97-AF65-F5344CB8AC3E}">
        <p14:creationId xmlns:p14="http://schemas.microsoft.com/office/powerpoint/2010/main" val="829715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RNRSTYLE" val="1"/>
</p:tagLst>
</file>

<file path=ppt/tags/tag4.xml><?xml version="1.0" encoding="utf-8"?>
<p:tagLst xmlns:a="http://schemas.openxmlformats.org/drawingml/2006/main" xmlns:r="http://schemas.openxmlformats.org/officeDocument/2006/relationships" xmlns:p="http://schemas.openxmlformats.org/presentationml/2006/main">
  <p:tag name="MIO_GUID" val="59d2c354-4603-4e38-92bf-4c7764558a5c"/>
</p:tagLst>
</file>

<file path=ppt/theme/theme1.xml><?xml version="1.0" encoding="utf-8"?>
<a:theme xmlns:a="http://schemas.openxmlformats.org/drawingml/2006/main" name="Wide Screen version">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2016 Lloyds Onscreen.potx" id="{E2AF0FFF-6B5B-4A7A-B0AD-9FA4294B7C64}" vid="{16BB8525-C719-4C42-9864-96463CBB8884}"/>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6 Lloyds Onscreen</Template>
  <TotalTime>144</TotalTime>
  <Words>621</Words>
  <Application>Microsoft Office PowerPoint</Application>
  <PresentationFormat>Custom</PresentationFormat>
  <Paragraphs>140</Paragraphs>
  <Slides>13</Slides>
  <Notes>1</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Wide Screen version</vt:lpstr>
      <vt:lpstr>R Best Practice</vt:lpstr>
      <vt:lpstr>Motivation</vt:lpstr>
      <vt:lpstr>Motivation</vt:lpstr>
      <vt:lpstr>Motivation</vt:lpstr>
      <vt:lpstr>Motivation</vt:lpstr>
      <vt:lpstr>R Best Practice</vt:lpstr>
      <vt:lpstr>R Best Practice</vt:lpstr>
      <vt:lpstr>R Best Practice</vt:lpstr>
      <vt:lpstr>R Best Practice</vt:lpstr>
      <vt:lpstr>R Best Practice</vt:lpstr>
      <vt:lpstr>R Best Practice</vt:lpstr>
      <vt:lpstr>R Best Practice</vt:lpstr>
      <vt:lpstr>R Best Practice</vt:lpstr>
    </vt:vector>
  </TitlesOfParts>
  <Company>Lloyd'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 Best Practice</dc:title>
  <dc:creator>Goymer, Chad</dc:creator>
  <cp:lastModifiedBy>Goymer, Chad</cp:lastModifiedBy>
  <cp:revision>10</cp:revision>
  <dcterms:created xsi:type="dcterms:W3CDTF">2018-08-16T09:15:35Z</dcterms:created>
  <dcterms:modified xsi:type="dcterms:W3CDTF">2018-08-16T11:40:13Z</dcterms:modified>
</cp:coreProperties>
</file>